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10.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ink/ink18.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266" r:id="rId2"/>
    <p:sldId id="322" r:id="rId3"/>
    <p:sldId id="260" r:id="rId4"/>
    <p:sldId id="311" r:id="rId5"/>
    <p:sldId id="272" r:id="rId6"/>
    <p:sldId id="344" r:id="rId7"/>
    <p:sldId id="348" r:id="rId8"/>
    <p:sldId id="354" r:id="rId9"/>
    <p:sldId id="349" r:id="rId10"/>
    <p:sldId id="350" r:id="rId11"/>
    <p:sldId id="351" r:id="rId12"/>
    <p:sldId id="345" r:id="rId13"/>
    <p:sldId id="262" r:id="rId14"/>
    <p:sldId id="313" r:id="rId15"/>
    <p:sldId id="318" r:id="rId16"/>
    <p:sldId id="312" r:id="rId17"/>
    <p:sldId id="314" r:id="rId18"/>
    <p:sldId id="336" r:id="rId19"/>
    <p:sldId id="356" r:id="rId20"/>
    <p:sldId id="264" r:id="rId21"/>
    <p:sldId id="315" r:id="rId22"/>
    <p:sldId id="316" r:id="rId23"/>
    <p:sldId id="263" r:id="rId24"/>
    <p:sldId id="319" r:id="rId25"/>
    <p:sldId id="321"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B5628-1019-4723-9671-5AE94D03704E}" v="2" dt="2021-10-22T15:05:45.806"/>
    <p1510:client id="{1009C9B0-2FFA-222B-479D-91B9BCF16FBD}" v="2" dt="2021-10-21T19:53:44.335"/>
    <p1510:client id="{589B14C6-BDE4-F1E7-4AA8-40C7A293087E}" v="8" dt="2021-10-21T20:41:51.942"/>
    <p1510:client id="{6A059BB1-1DF4-44CB-96DF-73661741CA15}" v="2781" dt="2021-10-21T19:26:09.111"/>
    <p1510:client id="{859F119C-E2F1-834E-6872-55C0BBF2C7C8}" v="7" dt="2021-10-22T10:33:17.789"/>
    <p1510:client id="{89D7CA4C-4225-9640-8E67-3AC50C987A55}" v="91" dt="2021-10-22T02:38:50.656"/>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uxin Tan" userId="S::xuxin.tan@fs-students.de::20e48cba-d982-468b-be47-641cf873d401" providerId="AD" clId="Web-{1009C9B0-2FFA-222B-479D-91B9BCF16FBD}"/>
    <pc:docChg chg="addSld delSld">
      <pc:chgData name="Xuxin Tan" userId="S::xuxin.tan@fs-students.de::20e48cba-d982-468b-be47-641cf873d401" providerId="AD" clId="Web-{1009C9B0-2FFA-222B-479D-91B9BCF16FBD}" dt="2021-10-21T19:53:44.335" v="1"/>
      <pc:docMkLst>
        <pc:docMk/>
      </pc:docMkLst>
      <pc:sldChg chg="add del replId">
        <pc:chgData name="Xuxin Tan" userId="S::xuxin.tan@fs-students.de::20e48cba-d982-468b-be47-641cf873d401" providerId="AD" clId="Web-{1009C9B0-2FFA-222B-479D-91B9BCF16FBD}" dt="2021-10-21T19:53:44.335" v="1"/>
        <pc:sldMkLst>
          <pc:docMk/>
          <pc:sldMk cId="2797197811" sldId="356"/>
        </pc:sldMkLst>
      </pc:sldChg>
    </pc:docChg>
  </pc:docChgLst>
  <pc:docChgLst>
    <pc:chgData name="Xuxin Tan" userId="S::xuxin.tan@fs-students.de::20e48cba-d982-468b-be47-641cf873d401" providerId="AD" clId="Web-{B9E7269E-E1EB-E799-2EC3-F5D84CC92033}"/>
    <pc:docChg chg="modSld">
      <pc:chgData name="Xuxin Tan" userId="S::xuxin.tan@fs-students.de::20e48cba-d982-468b-be47-641cf873d401" providerId="AD" clId="Web-{B9E7269E-E1EB-E799-2EC3-F5D84CC92033}" dt="2021-10-20T14:08:02.096" v="221" actId="20577"/>
      <pc:docMkLst>
        <pc:docMk/>
      </pc:docMkLst>
      <pc:sldChg chg="modSp">
        <pc:chgData name="Xuxin Tan" userId="S::xuxin.tan@fs-students.de::20e48cba-d982-468b-be47-641cf873d401" providerId="AD" clId="Web-{B9E7269E-E1EB-E799-2EC3-F5D84CC92033}" dt="2021-10-20T13:43:51.019" v="9" actId="20577"/>
        <pc:sldMkLst>
          <pc:docMk/>
          <pc:sldMk cId="1471037925" sldId="264"/>
        </pc:sldMkLst>
        <pc:spChg chg="mod">
          <ac:chgData name="Xuxin Tan" userId="S::xuxin.tan@fs-students.de::20e48cba-d982-468b-be47-641cf873d401" providerId="AD" clId="Web-{B9E7269E-E1EB-E799-2EC3-F5D84CC92033}" dt="2021-10-20T13:43:51.019" v="9" actId="20577"/>
          <ac:spMkLst>
            <pc:docMk/>
            <pc:sldMk cId="1471037925" sldId="264"/>
            <ac:spMk id="8" creationId="{ACEB79DF-3AAB-46EC-952C-7E091862C688}"/>
          </ac:spMkLst>
        </pc:spChg>
      </pc:sldChg>
      <pc:sldChg chg="modSp">
        <pc:chgData name="Xuxin Tan" userId="S::xuxin.tan@fs-students.de::20e48cba-d982-468b-be47-641cf873d401" providerId="AD" clId="Web-{B9E7269E-E1EB-E799-2EC3-F5D84CC92033}" dt="2021-10-20T13:25:26.496" v="1" actId="20577"/>
        <pc:sldMkLst>
          <pc:docMk/>
          <pc:sldMk cId="4276621269" sldId="312"/>
        </pc:sldMkLst>
        <pc:spChg chg="mod">
          <ac:chgData name="Xuxin Tan" userId="S::xuxin.tan@fs-students.de::20e48cba-d982-468b-be47-641cf873d401" providerId="AD" clId="Web-{B9E7269E-E1EB-E799-2EC3-F5D84CC92033}" dt="2021-10-20T13:25:26.496" v="1" actId="20577"/>
          <ac:spMkLst>
            <pc:docMk/>
            <pc:sldMk cId="4276621269" sldId="312"/>
            <ac:spMk id="8" creationId="{E45C4B50-56CA-4F24-9DAC-E10D7B0E27C4}"/>
          </ac:spMkLst>
        </pc:spChg>
      </pc:sldChg>
      <pc:sldChg chg="modSp">
        <pc:chgData name="Xuxin Tan" userId="S::xuxin.tan@fs-students.de::20e48cba-d982-468b-be47-641cf873d401" providerId="AD" clId="Web-{B9E7269E-E1EB-E799-2EC3-F5D84CC92033}" dt="2021-10-20T14:08:02.096" v="221" actId="20577"/>
        <pc:sldMkLst>
          <pc:docMk/>
          <pc:sldMk cId="59782169" sldId="319"/>
        </pc:sldMkLst>
        <pc:spChg chg="mod">
          <ac:chgData name="Xuxin Tan" userId="S::xuxin.tan@fs-students.de::20e48cba-d982-468b-be47-641cf873d401" providerId="AD" clId="Web-{B9E7269E-E1EB-E799-2EC3-F5D84CC92033}" dt="2021-10-20T14:08:02.096" v="221" actId="20577"/>
          <ac:spMkLst>
            <pc:docMk/>
            <pc:sldMk cId="59782169" sldId="319"/>
            <ac:spMk id="27" creationId="{846961D8-61BB-4898-A874-42A487CE975C}"/>
          </ac:spMkLst>
        </pc:spChg>
      </pc:sldChg>
    </pc:docChg>
  </pc:docChgLst>
  <pc:docChgLst>
    <pc:chgData name="XingYifan" userId="S::yifan.xing@fs-students.de::ec0b773b-020c-4ca1-9a1f-a4f9c5eab3ae" providerId="AD" clId="Web-{F31E801C-94FF-5CB0-7317-C887BA1BDD01}"/>
    <pc:docChg chg="modSld">
      <pc:chgData name="XingYifan" userId="S::yifan.xing@fs-students.de::ec0b773b-020c-4ca1-9a1f-a4f9c5eab3ae" providerId="AD" clId="Web-{F31E801C-94FF-5CB0-7317-C887BA1BDD01}" dt="2021-10-19T15:52:18.205" v="1" actId="20577"/>
      <pc:docMkLst>
        <pc:docMk/>
      </pc:docMkLst>
      <pc:sldChg chg="modSp">
        <pc:chgData name="XingYifan" userId="S::yifan.xing@fs-students.de::ec0b773b-020c-4ca1-9a1f-a4f9c5eab3ae" providerId="AD" clId="Web-{F31E801C-94FF-5CB0-7317-C887BA1BDD01}" dt="2021-10-19T15:52:18.205" v="1" actId="20577"/>
        <pc:sldMkLst>
          <pc:docMk/>
          <pc:sldMk cId="217499512" sldId="344"/>
        </pc:sldMkLst>
        <pc:spChg chg="mod">
          <ac:chgData name="XingYifan" userId="S::yifan.xing@fs-students.de::ec0b773b-020c-4ca1-9a1f-a4f9c5eab3ae" providerId="AD" clId="Web-{F31E801C-94FF-5CB0-7317-C887BA1BDD01}" dt="2021-10-19T15:52:18.205" v="1" actId="20577"/>
          <ac:spMkLst>
            <pc:docMk/>
            <pc:sldMk cId="217499512" sldId="344"/>
            <ac:spMk id="35" creationId="{B8D8B68E-76F8-44F3-9285-5000B68FA1F9}"/>
          </ac:spMkLst>
        </pc:spChg>
      </pc:sldChg>
    </pc:docChg>
  </pc:docChgLst>
  <pc:docChgLst>
    <pc:chgData name="Xuxin Tan" userId="S::xuxin.tan@fs-students.de::20e48cba-d982-468b-be47-641cf873d401" providerId="AD" clId="Web-{277DA24A-4E8A-D225-2FEA-01E86FF74334}"/>
    <pc:docChg chg="modSld">
      <pc:chgData name="Xuxin Tan" userId="S::xuxin.tan@fs-students.de::20e48cba-d982-468b-be47-641cf873d401" providerId="AD" clId="Web-{277DA24A-4E8A-D225-2FEA-01E86FF74334}" dt="2021-10-19T18:48:41.014" v="7"/>
      <pc:docMkLst>
        <pc:docMk/>
      </pc:docMkLst>
      <pc:sldChg chg="modSp">
        <pc:chgData name="Xuxin Tan" userId="S::xuxin.tan@fs-students.de::20e48cba-d982-468b-be47-641cf873d401" providerId="AD" clId="Web-{277DA24A-4E8A-D225-2FEA-01E86FF74334}" dt="2021-10-19T18:48:41.014" v="7"/>
        <pc:sldMkLst>
          <pc:docMk/>
          <pc:sldMk cId="1471037925" sldId="264"/>
        </pc:sldMkLst>
        <pc:graphicFrameChg chg="modGraphic">
          <ac:chgData name="Xuxin Tan" userId="S::xuxin.tan@fs-students.de::20e48cba-d982-468b-be47-641cf873d401" providerId="AD" clId="Web-{277DA24A-4E8A-D225-2FEA-01E86FF74334}" dt="2021-10-19T18:48:41.014" v="7"/>
          <ac:graphicFrameMkLst>
            <pc:docMk/>
            <pc:sldMk cId="1471037925" sldId="264"/>
            <ac:graphicFrameMk id="2" creationId="{0ADCBCD8-6480-4A6B-8EBB-96F48644C21D}"/>
          </ac:graphicFrameMkLst>
        </pc:graphicFrameChg>
      </pc:sldChg>
      <pc:sldChg chg="modSp">
        <pc:chgData name="Xuxin Tan" userId="S::xuxin.tan@fs-students.de::20e48cba-d982-468b-be47-641cf873d401" providerId="AD" clId="Web-{277DA24A-4E8A-D225-2FEA-01E86FF74334}" dt="2021-10-19T18:41:32.966" v="2" actId="14100"/>
        <pc:sldMkLst>
          <pc:docMk/>
          <pc:sldMk cId="2162620498" sldId="327"/>
        </pc:sldMkLst>
        <pc:picChg chg="mod">
          <ac:chgData name="Xuxin Tan" userId="S::xuxin.tan@fs-students.de::20e48cba-d982-468b-be47-641cf873d401" providerId="AD" clId="Web-{277DA24A-4E8A-D225-2FEA-01E86FF74334}" dt="2021-10-19T18:41:28.263" v="1" actId="14100"/>
          <ac:picMkLst>
            <pc:docMk/>
            <pc:sldMk cId="2162620498" sldId="327"/>
            <ac:picMk id="6" creationId="{E48E24C9-BCDB-4EDB-A18D-24BA04D6D808}"/>
          </ac:picMkLst>
        </pc:picChg>
        <pc:picChg chg="mod">
          <ac:chgData name="Xuxin Tan" userId="S::xuxin.tan@fs-students.de::20e48cba-d982-468b-be47-641cf873d401" providerId="AD" clId="Web-{277DA24A-4E8A-D225-2FEA-01E86FF74334}" dt="2021-10-19T18:41:32.966" v="2" actId="14100"/>
          <ac:picMkLst>
            <pc:docMk/>
            <pc:sldMk cId="2162620498" sldId="327"/>
            <ac:picMk id="16" creationId="{8C1B3448-AC5F-43E2-B6B5-D3C1A9349F52}"/>
          </ac:picMkLst>
        </pc:picChg>
      </pc:sldChg>
      <pc:sldChg chg="delAnim modAnim">
        <pc:chgData name="Xuxin Tan" userId="S::xuxin.tan@fs-students.de::20e48cba-d982-468b-be47-641cf873d401" providerId="AD" clId="Web-{277DA24A-4E8A-D225-2FEA-01E86FF74334}" dt="2021-10-19T18:38:57.863" v="0"/>
        <pc:sldMkLst>
          <pc:docMk/>
          <pc:sldMk cId="990268362" sldId="336"/>
        </pc:sldMkLst>
      </pc:sldChg>
    </pc:docChg>
  </pc:docChgLst>
  <pc:docChgLst>
    <pc:chgData name="XingYifan" userId="S::yifan.xing@fs-students.de::ec0b773b-020c-4ca1-9a1f-a4f9c5eab3ae" providerId="AD" clId="Web-{C4C9CB8C-95E6-FC78-3203-839D2F1B0A4C}"/>
    <pc:docChg chg="addSld modSld">
      <pc:chgData name="XingYifan" userId="S::yifan.xing@fs-students.de::ec0b773b-020c-4ca1-9a1f-a4f9c5eab3ae" providerId="AD" clId="Web-{C4C9CB8C-95E6-FC78-3203-839D2F1B0A4C}" dt="2021-10-10T16:36:14.887" v="1688"/>
      <pc:docMkLst>
        <pc:docMk/>
      </pc:docMkLst>
      <pc:sldChg chg="addSp delSp modSp new">
        <pc:chgData name="XingYifan" userId="S::yifan.xing@fs-students.de::ec0b773b-020c-4ca1-9a1f-a4f9c5eab3ae" providerId="AD" clId="Web-{C4C9CB8C-95E6-FC78-3203-839D2F1B0A4C}" dt="2021-10-10T16:36:14.887" v="1688"/>
        <pc:sldMkLst>
          <pc:docMk/>
          <pc:sldMk cId="2275585156" sldId="259"/>
        </pc:sldMkLst>
        <pc:spChg chg="mod">
          <ac:chgData name="XingYifan" userId="S::yifan.xing@fs-students.de::ec0b773b-020c-4ca1-9a1f-a4f9c5eab3ae" providerId="AD" clId="Web-{C4C9CB8C-95E6-FC78-3203-839D2F1B0A4C}" dt="2021-10-10T15:51:56.417" v="31" actId="20577"/>
          <ac:spMkLst>
            <pc:docMk/>
            <pc:sldMk cId="2275585156" sldId="259"/>
            <ac:spMk id="2" creationId="{81B5A594-F8F1-4F0E-9FE1-A15ECCD94FA0}"/>
          </ac:spMkLst>
        </pc:spChg>
        <pc:spChg chg="del">
          <ac:chgData name="XingYifan" userId="S::yifan.xing@fs-students.de::ec0b773b-020c-4ca1-9a1f-a4f9c5eab3ae" providerId="AD" clId="Web-{C4C9CB8C-95E6-FC78-3203-839D2F1B0A4C}" dt="2021-10-10T15:51:44.901" v="4"/>
          <ac:spMkLst>
            <pc:docMk/>
            <pc:sldMk cId="2275585156" sldId="259"/>
            <ac:spMk id="3" creationId="{D9470E91-C334-402E-A473-3CB99A2E8A46}"/>
          </ac:spMkLst>
        </pc:spChg>
        <pc:graphicFrameChg chg="add mod ord modGraphic">
          <ac:chgData name="XingYifan" userId="S::yifan.xing@fs-students.de::ec0b773b-020c-4ca1-9a1f-a4f9c5eab3ae" providerId="AD" clId="Web-{C4C9CB8C-95E6-FC78-3203-839D2F1B0A4C}" dt="2021-10-10T16:36:14.887" v="1688"/>
          <ac:graphicFrameMkLst>
            <pc:docMk/>
            <pc:sldMk cId="2275585156" sldId="259"/>
            <ac:graphicFrameMk id="4" creationId="{23D3D589-C066-41CC-B1E9-3013BA639920}"/>
          </ac:graphicFrameMkLst>
        </pc:graphicFrameChg>
      </pc:sldChg>
    </pc:docChg>
  </pc:docChgLst>
  <pc:docChgLst>
    <pc:chgData name="XingYifan" userId="S::yifan.xing@fs-students.de::ec0b773b-020c-4ca1-9a1f-a4f9c5eab3ae" providerId="AD" clId="Web-{BC5E76E6-F1AC-4075-A611-8C2CB660521A}"/>
    <pc:docChg chg="modSld">
      <pc:chgData name="XingYifan" userId="S::yifan.xing@fs-students.de::ec0b773b-020c-4ca1-9a1f-a4f9c5eab3ae" providerId="AD" clId="Web-{BC5E76E6-F1AC-4075-A611-8C2CB660521A}" dt="2021-10-10T16:55:57.454" v="64"/>
      <pc:docMkLst>
        <pc:docMk/>
      </pc:docMkLst>
      <pc:sldChg chg="modSp">
        <pc:chgData name="XingYifan" userId="S::yifan.xing@fs-students.de::ec0b773b-020c-4ca1-9a1f-a4f9c5eab3ae" providerId="AD" clId="Web-{BC5E76E6-F1AC-4075-A611-8C2CB660521A}" dt="2021-10-10T16:55:57.454" v="64"/>
        <pc:sldMkLst>
          <pc:docMk/>
          <pc:sldMk cId="2275585156" sldId="259"/>
        </pc:sldMkLst>
        <pc:graphicFrameChg chg="mod modGraphic">
          <ac:chgData name="XingYifan" userId="S::yifan.xing@fs-students.de::ec0b773b-020c-4ca1-9a1f-a4f9c5eab3ae" providerId="AD" clId="Web-{BC5E76E6-F1AC-4075-A611-8C2CB660521A}" dt="2021-10-10T16:55:57.454" v="64"/>
          <ac:graphicFrameMkLst>
            <pc:docMk/>
            <pc:sldMk cId="2275585156" sldId="259"/>
            <ac:graphicFrameMk id="4" creationId="{23D3D589-C066-41CC-B1E9-3013BA639920}"/>
          </ac:graphicFrameMkLst>
        </pc:graphicFrameChg>
      </pc:sldChg>
    </pc:docChg>
  </pc:docChgLst>
  <pc:docChgLst>
    <pc:chgData name="Yudi Wang" userId="S::yudi.wang@fs-students.de::d6d3e1ff-7fbc-44f4-bef1-29aa738b3b63" providerId="AD" clId="Web-{4E771BA4-1D71-45E3-9E4E-96165CD79DB7}"/>
    <pc:docChg chg="modSld">
      <pc:chgData name="Yudi Wang" userId="S::yudi.wang@fs-students.de::d6d3e1ff-7fbc-44f4-bef1-29aa738b3b63" providerId="AD" clId="Web-{4E771BA4-1D71-45E3-9E4E-96165CD79DB7}" dt="2021-10-17T12:00:03.216" v="33" actId="20577"/>
      <pc:docMkLst>
        <pc:docMk/>
      </pc:docMkLst>
      <pc:sldChg chg="modSp">
        <pc:chgData name="Yudi Wang" userId="S::yudi.wang@fs-students.de::d6d3e1ff-7fbc-44f4-bef1-29aa738b3b63" providerId="AD" clId="Web-{4E771BA4-1D71-45E3-9E4E-96165CD79DB7}" dt="2021-10-17T12:00:03.216" v="33" actId="20577"/>
        <pc:sldMkLst>
          <pc:docMk/>
          <pc:sldMk cId="2838950762" sldId="266"/>
        </pc:sldMkLst>
        <pc:spChg chg="mod">
          <ac:chgData name="Yudi Wang" userId="S::yudi.wang@fs-students.de::d6d3e1ff-7fbc-44f4-bef1-29aa738b3b63" providerId="AD" clId="Web-{4E771BA4-1D71-45E3-9E4E-96165CD79DB7}" dt="2021-10-17T12:00:03.216" v="33" actId="20577"/>
          <ac:spMkLst>
            <pc:docMk/>
            <pc:sldMk cId="2838950762" sldId="266"/>
            <ac:spMk id="15" creationId="{64ED2569-20A0-47A1-8AA6-84B44A3C6106}"/>
          </ac:spMkLst>
        </pc:spChg>
      </pc:sldChg>
    </pc:docChg>
  </pc:docChgLst>
  <pc:docChgLst>
    <pc:chgData name="zhida zhang" userId="1cf27fca-bd90-4836-a1b0-7476e3b584b3" providerId="ADAL" clId="{6A059BB1-1DF4-44CB-96DF-73661741CA15}"/>
    <pc:docChg chg="undo custSel addSld delSld modSld sldOrd modMainMaster replTag">
      <pc:chgData name="zhida zhang" userId="1cf27fca-bd90-4836-a1b0-7476e3b584b3" providerId="ADAL" clId="{6A059BB1-1DF4-44CB-96DF-73661741CA15}" dt="2021-10-21T19:25:58.300" v="3662" actId="20577"/>
      <pc:docMkLst>
        <pc:docMk/>
      </pc:docMkLst>
      <pc:sldChg chg="addSp modSp new del mod">
        <pc:chgData name="zhida zhang" userId="1cf27fca-bd90-4836-a1b0-7476e3b584b3" providerId="ADAL" clId="{6A059BB1-1DF4-44CB-96DF-73661741CA15}" dt="2021-10-12T09:53:35.819" v="204" actId="47"/>
        <pc:sldMkLst>
          <pc:docMk/>
          <pc:sldMk cId="700707070" sldId="256"/>
        </pc:sldMkLst>
        <pc:spChg chg="mod">
          <ac:chgData name="zhida zhang" userId="1cf27fca-bd90-4836-a1b0-7476e3b584b3" providerId="ADAL" clId="{6A059BB1-1DF4-44CB-96DF-73661741CA15}" dt="2021-09-04T20:07:09.252" v="50" actId="1076"/>
          <ac:spMkLst>
            <pc:docMk/>
            <pc:sldMk cId="700707070" sldId="256"/>
            <ac:spMk id="3" creationId="{414B9906-A095-4079-95FC-4BA37A2DBC71}"/>
          </ac:spMkLst>
        </pc:spChg>
        <pc:picChg chg="add mod">
          <ac:chgData name="zhida zhang" userId="1cf27fca-bd90-4836-a1b0-7476e3b584b3" providerId="ADAL" clId="{6A059BB1-1DF4-44CB-96DF-73661741CA15}" dt="2021-09-04T20:06:12.402" v="4" actId="962"/>
          <ac:picMkLst>
            <pc:docMk/>
            <pc:sldMk cId="700707070" sldId="256"/>
            <ac:picMk id="5" creationId="{1AAB6EED-90F6-4EE4-9672-076C652845AD}"/>
          </ac:picMkLst>
        </pc:picChg>
      </pc:sldChg>
      <pc:sldChg chg="addSp delSp modSp new del mod">
        <pc:chgData name="zhida zhang" userId="1cf27fca-bd90-4836-a1b0-7476e3b584b3" providerId="ADAL" clId="{6A059BB1-1DF4-44CB-96DF-73661741CA15}" dt="2021-10-12T09:53:38.205" v="205" actId="47"/>
        <pc:sldMkLst>
          <pc:docMk/>
          <pc:sldMk cId="3077815711" sldId="257"/>
        </pc:sldMkLst>
        <pc:spChg chg="del">
          <ac:chgData name="zhida zhang" userId="1cf27fca-bd90-4836-a1b0-7476e3b584b3" providerId="ADAL" clId="{6A059BB1-1DF4-44CB-96DF-73661741CA15}" dt="2021-09-04T20:08:20.354" v="51" actId="931"/>
          <ac:spMkLst>
            <pc:docMk/>
            <pc:sldMk cId="3077815711" sldId="257"/>
            <ac:spMk id="3" creationId="{F4F12B7D-B2D7-4D2F-87D5-5E2482D69DA2}"/>
          </ac:spMkLst>
        </pc:spChg>
        <pc:spChg chg="add mod">
          <ac:chgData name="zhida zhang" userId="1cf27fca-bd90-4836-a1b0-7476e3b584b3" providerId="ADAL" clId="{6A059BB1-1DF4-44CB-96DF-73661741CA15}" dt="2021-09-04T20:10:01.896" v="63" actId="478"/>
          <ac:spMkLst>
            <pc:docMk/>
            <pc:sldMk cId="3077815711" sldId="257"/>
            <ac:spMk id="9" creationId="{CEE3585A-FB7A-4297-BEF7-6047D2EFCC7F}"/>
          </ac:spMkLst>
        </pc:spChg>
        <pc:picChg chg="add del mod modCrop">
          <ac:chgData name="zhida zhang" userId="1cf27fca-bd90-4836-a1b0-7476e3b584b3" providerId="ADAL" clId="{6A059BB1-1DF4-44CB-96DF-73661741CA15}" dt="2021-09-04T20:10:01.896" v="63" actId="478"/>
          <ac:picMkLst>
            <pc:docMk/>
            <pc:sldMk cId="3077815711" sldId="257"/>
            <ac:picMk id="5" creationId="{730998E4-64E1-4A3D-899A-921B31D25910}"/>
          </ac:picMkLst>
        </pc:picChg>
        <pc:picChg chg="add mod modCrop">
          <ac:chgData name="zhida zhang" userId="1cf27fca-bd90-4836-a1b0-7476e3b584b3" providerId="ADAL" clId="{6A059BB1-1DF4-44CB-96DF-73661741CA15}" dt="2021-09-04T20:17:39.959" v="70" actId="1076"/>
          <ac:picMkLst>
            <pc:docMk/>
            <pc:sldMk cId="3077815711" sldId="257"/>
            <ac:picMk id="7" creationId="{AFFACDFC-0853-490C-B0F0-22246188E4F2}"/>
          </ac:picMkLst>
        </pc:picChg>
        <pc:picChg chg="add mod modCrop">
          <ac:chgData name="zhida zhang" userId="1cf27fca-bd90-4836-a1b0-7476e3b584b3" providerId="ADAL" clId="{6A059BB1-1DF4-44CB-96DF-73661741CA15}" dt="2021-09-04T20:17:46.840" v="71" actId="1076"/>
          <ac:picMkLst>
            <pc:docMk/>
            <pc:sldMk cId="3077815711" sldId="257"/>
            <ac:picMk id="10" creationId="{212C7FC9-2F47-4EBB-9A9D-CAC39EDFDA98}"/>
          </ac:picMkLst>
        </pc:picChg>
      </pc:sldChg>
      <pc:sldChg chg="addSp modSp new del mod ord">
        <pc:chgData name="zhida zhang" userId="1cf27fca-bd90-4836-a1b0-7476e3b584b3" providerId="ADAL" clId="{6A059BB1-1DF4-44CB-96DF-73661741CA15}" dt="2021-10-12T09:53:24.854" v="203" actId="47"/>
        <pc:sldMkLst>
          <pc:docMk/>
          <pc:sldMk cId="267830997" sldId="258"/>
        </pc:sldMkLst>
        <pc:picChg chg="add mod">
          <ac:chgData name="zhida zhang" userId="1cf27fca-bd90-4836-a1b0-7476e3b584b3" providerId="ADAL" clId="{6A059BB1-1DF4-44CB-96DF-73661741CA15}" dt="2021-09-19T10:54:00.667" v="82" actId="14100"/>
          <ac:picMkLst>
            <pc:docMk/>
            <pc:sldMk cId="267830997" sldId="258"/>
            <ac:picMk id="5" creationId="{40A92CD1-A6D8-41A6-8638-E63C84A90609}"/>
          </ac:picMkLst>
        </pc:picChg>
      </pc:sldChg>
      <pc:sldChg chg="del">
        <pc:chgData name="zhida zhang" userId="1cf27fca-bd90-4836-a1b0-7476e3b584b3" providerId="ADAL" clId="{6A059BB1-1DF4-44CB-96DF-73661741CA15}" dt="2021-10-12T09:53:39.760" v="206" actId="47"/>
        <pc:sldMkLst>
          <pc:docMk/>
          <pc:sldMk cId="2275585156" sldId="259"/>
        </pc:sldMkLst>
      </pc:sldChg>
      <pc:sldChg chg="add">
        <pc:chgData name="zhida zhang" userId="1cf27fca-bd90-4836-a1b0-7476e3b584b3" providerId="ADAL" clId="{6A059BB1-1DF4-44CB-96DF-73661741CA15}" dt="2021-10-12T09:53:20.554" v="89"/>
        <pc:sldMkLst>
          <pc:docMk/>
          <pc:sldMk cId="3035983278" sldId="260"/>
        </pc:sldMkLst>
      </pc:sldChg>
      <pc:sldChg chg="addSp delSp modSp add mod setBg delDesignElem">
        <pc:chgData name="zhida zhang" userId="1cf27fca-bd90-4836-a1b0-7476e3b584b3" providerId="ADAL" clId="{6A059BB1-1DF4-44CB-96DF-73661741CA15}" dt="2021-10-12T09:53:21.315" v="202"/>
        <pc:sldMkLst>
          <pc:docMk/>
          <pc:sldMk cId="428076865" sldId="261"/>
        </pc:sldMkLst>
        <pc:spChg chg="mod">
          <ac:chgData name="zhida zhang" userId="1cf27fca-bd90-4836-a1b0-7476e3b584b3" providerId="ADAL" clId="{6A059BB1-1DF4-44CB-96DF-73661741CA15}" dt="2021-10-12T09:53:21.150" v="128"/>
          <ac:spMkLst>
            <pc:docMk/>
            <pc:sldMk cId="428076865" sldId="261"/>
            <ac:spMk id="2" creationId="{F8594104-4767-4CEF-A5A9-2E4AE965163F}"/>
          </ac:spMkLst>
        </pc:spChg>
        <pc:spChg chg="add del mod modVis">
          <ac:chgData name="zhida zhang" userId="1cf27fca-bd90-4836-a1b0-7476e3b584b3" providerId="ADAL" clId="{6A059BB1-1DF4-44CB-96DF-73661741CA15}" dt="2021-10-12T09:53:21.299" v="186"/>
          <ac:spMkLst>
            <pc:docMk/>
            <pc:sldMk cId="428076865" sldId="261"/>
            <ac:spMk id="3" creationId="{C99003DD-1520-4D75-AD5E-C90BA5DC8758}"/>
          </ac:spMkLst>
        </pc:spChg>
        <pc:spChg chg="del">
          <ac:chgData name="zhida zhang" userId="1cf27fca-bd90-4836-a1b0-7476e3b584b3" providerId="ADAL" clId="{6A059BB1-1DF4-44CB-96DF-73661741CA15}" dt="2021-10-12T09:53:20.554" v="89"/>
          <ac:spMkLst>
            <pc:docMk/>
            <pc:sldMk cId="428076865" sldId="261"/>
            <ac:spMk id="16" creationId="{303CC970-4826-4CED-8063-0FB676635452}"/>
          </ac:spMkLst>
        </pc:spChg>
        <pc:spChg chg="del">
          <ac:chgData name="zhida zhang" userId="1cf27fca-bd90-4836-a1b0-7476e3b584b3" providerId="ADAL" clId="{6A059BB1-1DF4-44CB-96DF-73661741CA15}" dt="2021-10-12T09:53:20.554" v="89"/>
          <ac:spMkLst>
            <pc:docMk/>
            <pc:sldMk cId="428076865" sldId="261"/>
            <ac:spMk id="18" creationId="{14490D63-3365-45CC-AC50-705C1B76815F}"/>
          </ac:spMkLst>
        </pc:spChg>
        <pc:graphicFrameChg chg="add mod ord modVis replST">
          <ac:chgData name="zhida zhang" userId="1cf27fca-bd90-4836-a1b0-7476e3b584b3" providerId="ADAL" clId="{6A059BB1-1DF4-44CB-96DF-73661741CA15}" dt="2021-10-12T09:53:21.315" v="202"/>
          <ac:graphicFrameMkLst>
            <pc:docMk/>
            <pc:sldMk cId="428076865" sldId="261"/>
            <ac:graphicFrameMk id="4" creationId="{578D67D8-CB5E-48BD-97C3-5381F8317D4C}"/>
          </ac:graphicFrameMkLst>
        </pc:graphicFrameChg>
      </pc:sldChg>
      <pc:sldChg chg="delSp add setBg delDesignElem">
        <pc:chgData name="zhida zhang" userId="1cf27fca-bd90-4836-a1b0-7476e3b584b3" providerId="ADAL" clId="{6A059BB1-1DF4-44CB-96DF-73661741CA15}" dt="2021-10-12T09:53:20.554" v="89"/>
        <pc:sldMkLst>
          <pc:docMk/>
          <pc:sldMk cId="933643179" sldId="262"/>
        </pc:sldMkLst>
        <pc:spChg chg="del">
          <ac:chgData name="zhida zhang" userId="1cf27fca-bd90-4836-a1b0-7476e3b584b3" providerId="ADAL" clId="{6A059BB1-1DF4-44CB-96DF-73661741CA15}" dt="2021-10-12T09:53:20.554" v="89"/>
          <ac:spMkLst>
            <pc:docMk/>
            <pc:sldMk cId="933643179" sldId="262"/>
            <ac:spMk id="16" creationId="{9AA72BD9-2C5A-4EDC-931F-5AA08EACA0F3}"/>
          </ac:spMkLst>
        </pc:spChg>
        <pc:spChg chg="del">
          <ac:chgData name="zhida zhang" userId="1cf27fca-bd90-4836-a1b0-7476e3b584b3" providerId="ADAL" clId="{6A059BB1-1DF4-44CB-96DF-73661741CA15}" dt="2021-10-12T09:53:20.554" v="89"/>
          <ac:spMkLst>
            <pc:docMk/>
            <pc:sldMk cId="933643179" sldId="262"/>
            <ac:spMk id="18" creationId="{DD3981AC-7B61-4947-BCF3-F7AA7FA385B9}"/>
          </ac:spMkLst>
        </pc:spChg>
        <pc:spChg chg="del">
          <ac:chgData name="zhida zhang" userId="1cf27fca-bd90-4836-a1b0-7476e3b584b3" providerId="ADAL" clId="{6A059BB1-1DF4-44CB-96DF-73661741CA15}" dt="2021-10-12T09:53:20.554" v="89"/>
          <ac:spMkLst>
            <pc:docMk/>
            <pc:sldMk cId="933643179" sldId="262"/>
            <ac:spMk id="20" creationId="{55D4142C-5077-457F-A6AD-3FECFDB39685}"/>
          </ac:spMkLst>
        </pc:spChg>
        <pc:spChg chg="del">
          <ac:chgData name="zhida zhang" userId="1cf27fca-bd90-4836-a1b0-7476e3b584b3" providerId="ADAL" clId="{6A059BB1-1DF4-44CB-96DF-73661741CA15}" dt="2021-10-12T09:53:20.554" v="89"/>
          <ac:spMkLst>
            <pc:docMk/>
            <pc:sldMk cId="933643179" sldId="262"/>
            <ac:spMk id="22" creationId="{7A5F0580-5EE9-419F-96EE-B6529EF6E7D0}"/>
          </ac:spMkLst>
        </pc:spChg>
      </pc:sldChg>
      <pc:sldChg chg="delSp add setBg delDesignElem">
        <pc:chgData name="zhida zhang" userId="1cf27fca-bd90-4836-a1b0-7476e3b584b3" providerId="ADAL" clId="{6A059BB1-1DF4-44CB-96DF-73661741CA15}" dt="2021-10-12T09:53:20.554" v="89"/>
        <pc:sldMkLst>
          <pc:docMk/>
          <pc:sldMk cId="983890126" sldId="263"/>
        </pc:sldMkLst>
        <pc:spChg chg="del">
          <ac:chgData name="zhida zhang" userId="1cf27fca-bd90-4836-a1b0-7476e3b584b3" providerId="ADAL" clId="{6A059BB1-1DF4-44CB-96DF-73661741CA15}" dt="2021-10-12T09:53:20.554" v="89"/>
          <ac:spMkLst>
            <pc:docMk/>
            <pc:sldMk cId="983890126" sldId="263"/>
            <ac:spMk id="18" creationId="{0671A8AE-40A1-4631-A6B8-581AFF065482}"/>
          </ac:spMkLst>
        </pc:spChg>
        <pc:spChg chg="del">
          <ac:chgData name="zhida zhang" userId="1cf27fca-bd90-4836-a1b0-7476e3b584b3" providerId="ADAL" clId="{6A059BB1-1DF4-44CB-96DF-73661741CA15}" dt="2021-10-12T09:53:20.554" v="89"/>
          <ac:spMkLst>
            <pc:docMk/>
            <pc:sldMk cId="983890126" sldId="263"/>
            <ac:spMk id="21" creationId="{AB58EF07-17C2-48CF-ABB0-EEF1F17CB8F0}"/>
          </ac:spMkLst>
        </pc:spChg>
        <pc:spChg chg="del">
          <ac:chgData name="zhida zhang" userId="1cf27fca-bd90-4836-a1b0-7476e3b584b3" providerId="ADAL" clId="{6A059BB1-1DF4-44CB-96DF-73661741CA15}" dt="2021-10-12T09:53:20.554" v="89"/>
          <ac:spMkLst>
            <pc:docMk/>
            <pc:sldMk cId="983890126" sldId="263"/>
            <ac:spMk id="22" creationId="{AF2F604E-43BE-4DC3-B983-E071523364F8}"/>
          </ac:spMkLst>
        </pc:spChg>
        <pc:spChg chg="del">
          <ac:chgData name="zhida zhang" userId="1cf27fca-bd90-4836-a1b0-7476e3b584b3" providerId="ADAL" clId="{6A059BB1-1DF4-44CB-96DF-73661741CA15}" dt="2021-10-12T09:53:20.554" v="89"/>
          <ac:spMkLst>
            <pc:docMk/>
            <pc:sldMk cId="983890126" sldId="263"/>
            <ac:spMk id="23" creationId="{08C9B587-E65E-4B52-B37C-ABEBB6E87928}"/>
          </ac:spMkLst>
        </pc:spChg>
      </pc:sldChg>
      <pc:sldChg chg="addSp delSp modSp add mod setBg">
        <pc:chgData name="zhida zhang" userId="1cf27fca-bd90-4836-a1b0-7476e3b584b3" providerId="ADAL" clId="{6A059BB1-1DF4-44CB-96DF-73661741CA15}" dt="2021-10-20T13:37:31.889" v="1077" actId="20577"/>
        <pc:sldMkLst>
          <pc:docMk/>
          <pc:sldMk cId="1471037925" sldId="264"/>
        </pc:sldMkLst>
        <pc:spChg chg="add mod">
          <ac:chgData name="zhida zhang" userId="1cf27fca-bd90-4836-a1b0-7476e3b584b3" providerId="ADAL" clId="{6A059BB1-1DF4-44CB-96DF-73661741CA15}" dt="2021-10-20T13:37:31.889" v="1077" actId="20577"/>
          <ac:spMkLst>
            <pc:docMk/>
            <pc:sldMk cId="1471037925" sldId="264"/>
            <ac:spMk id="8" creationId="{ACEB79DF-3AAB-46EC-952C-7E091862C688}"/>
          </ac:spMkLst>
        </pc:spChg>
        <pc:spChg chg="mod">
          <ac:chgData name="zhida zhang" userId="1cf27fca-bd90-4836-a1b0-7476e3b584b3" providerId="ADAL" clId="{6A059BB1-1DF4-44CB-96DF-73661741CA15}" dt="2021-10-17T20:54:39.881" v="238" actId="20577"/>
          <ac:spMkLst>
            <pc:docMk/>
            <pc:sldMk cId="1471037925" sldId="264"/>
            <ac:spMk id="33" creationId="{FE040AD5-0D68-4621-AB86-12A9EDCCF60D}"/>
          </ac:spMkLst>
        </pc:spChg>
        <pc:graphicFrameChg chg="add mod modGraphic">
          <ac:chgData name="zhida zhang" userId="1cf27fca-bd90-4836-a1b0-7476e3b584b3" providerId="ADAL" clId="{6A059BB1-1DF4-44CB-96DF-73661741CA15}" dt="2021-10-20T13:34:47.594" v="1015" actId="14734"/>
          <ac:graphicFrameMkLst>
            <pc:docMk/>
            <pc:sldMk cId="1471037925" sldId="264"/>
            <ac:graphicFrameMk id="2" creationId="{0ADCBCD8-6480-4A6B-8EBB-96F48644C21D}"/>
          </ac:graphicFrameMkLst>
        </pc:graphicFrameChg>
        <pc:picChg chg="add del">
          <ac:chgData name="zhida zhang" userId="1cf27fca-bd90-4836-a1b0-7476e3b584b3" providerId="ADAL" clId="{6A059BB1-1DF4-44CB-96DF-73661741CA15}" dt="2021-10-19T13:32:25.726" v="274" actId="478"/>
          <ac:picMkLst>
            <pc:docMk/>
            <pc:sldMk cId="1471037925" sldId="264"/>
            <ac:picMk id="5" creationId="{1D72C918-3DBF-48B4-AD44-C119EF92D137}"/>
          </ac:picMkLst>
        </pc:picChg>
        <pc:picChg chg="mod">
          <ac:chgData name="zhida zhang" userId="1cf27fca-bd90-4836-a1b0-7476e3b584b3" providerId="ADAL" clId="{6A059BB1-1DF4-44CB-96DF-73661741CA15}" dt="2021-10-19T13:32:27.529" v="275" actId="1076"/>
          <ac:picMkLst>
            <pc:docMk/>
            <pc:sldMk cId="1471037925" sldId="264"/>
            <ac:picMk id="24" creationId="{F5F4C416-7767-4B9A-96EC-4171A7121450}"/>
          </ac:picMkLst>
        </pc:picChg>
      </pc:sldChg>
      <pc:sldChg chg="delSp add setBg delDesignElem">
        <pc:chgData name="zhida zhang" userId="1cf27fca-bd90-4836-a1b0-7476e3b584b3" providerId="ADAL" clId="{6A059BB1-1DF4-44CB-96DF-73661741CA15}" dt="2021-10-12T09:53:20.554" v="89"/>
        <pc:sldMkLst>
          <pc:docMk/>
          <pc:sldMk cId="2838950762" sldId="266"/>
        </pc:sldMkLst>
        <pc:spChg chg="del">
          <ac:chgData name="zhida zhang" userId="1cf27fca-bd90-4836-a1b0-7476e3b584b3" providerId="ADAL" clId="{6A059BB1-1DF4-44CB-96DF-73661741CA15}" dt="2021-10-12T09:53:20.554" v="89"/>
          <ac:spMkLst>
            <pc:docMk/>
            <pc:sldMk cId="2838950762" sldId="266"/>
            <ac:spMk id="78" creationId="{AF2F604E-43BE-4DC3-B983-E071523364F8}"/>
          </ac:spMkLst>
        </pc:spChg>
        <pc:spChg chg="del">
          <ac:chgData name="zhida zhang" userId="1cf27fca-bd90-4836-a1b0-7476e3b584b3" providerId="ADAL" clId="{6A059BB1-1DF4-44CB-96DF-73661741CA15}" dt="2021-10-12T09:53:20.554" v="89"/>
          <ac:spMkLst>
            <pc:docMk/>
            <pc:sldMk cId="2838950762" sldId="266"/>
            <ac:spMk id="79" creationId="{0671A8AE-40A1-4631-A6B8-581AFF065482}"/>
          </ac:spMkLst>
        </pc:spChg>
        <pc:spChg chg="del">
          <ac:chgData name="zhida zhang" userId="1cf27fca-bd90-4836-a1b0-7476e3b584b3" providerId="ADAL" clId="{6A059BB1-1DF4-44CB-96DF-73661741CA15}" dt="2021-10-12T09:53:20.554" v="89"/>
          <ac:spMkLst>
            <pc:docMk/>
            <pc:sldMk cId="2838950762" sldId="266"/>
            <ac:spMk id="80" creationId="{08C9B587-E65E-4B52-B37C-ABEBB6E87928}"/>
          </ac:spMkLst>
        </pc:spChg>
        <pc:spChg chg="del">
          <ac:chgData name="zhida zhang" userId="1cf27fca-bd90-4836-a1b0-7476e3b584b3" providerId="ADAL" clId="{6A059BB1-1DF4-44CB-96DF-73661741CA15}" dt="2021-10-12T09:53:20.554" v="89"/>
          <ac:spMkLst>
            <pc:docMk/>
            <pc:sldMk cId="2838950762" sldId="266"/>
            <ac:spMk id="81" creationId="{AB58EF07-17C2-48CF-ABB0-EEF1F17CB8F0}"/>
          </ac:spMkLst>
        </pc:spChg>
      </pc:sldChg>
      <pc:sldChg chg="add setBg">
        <pc:chgData name="zhida zhang" userId="1cf27fca-bd90-4836-a1b0-7476e3b584b3" providerId="ADAL" clId="{6A059BB1-1DF4-44CB-96DF-73661741CA15}" dt="2021-10-12T09:53:20.554" v="89"/>
        <pc:sldMkLst>
          <pc:docMk/>
          <pc:sldMk cId="0" sldId="272"/>
        </pc:sldMkLst>
      </pc:sldChg>
      <pc:sldChg chg="add">
        <pc:chgData name="zhida zhang" userId="1cf27fca-bd90-4836-a1b0-7476e3b584b3" providerId="ADAL" clId="{6A059BB1-1DF4-44CB-96DF-73661741CA15}" dt="2021-10-12T09:53:20.554" v="89"/>
        <pc:sldMkLst>
          <pc:docMk/>
          <pc:sldMk cId="942637165" sldId="311"/>
        </pc:sldMkLst>
      </pc:sldChg>
      <pc:sldChg chg="add">
        <pc:chgData name="zhida zhang" userId="1cf27fca-bd90-4836-a1b0-7476e3b584b3" providerId="ADAL" clId="{6A059BB1-1DF4-44CB-96DF-73661741CA15}" dt="2021-10-12T09:53:20.554" v="89"/>
        <pc:sldMkLst>
          <pc:docMk/>
          <pc:sldMk cId="4276621269" sldId="312"/>
        </pc:sldMkLst>
      </pc:sldChg>
      <pc:sldChg chg="addSp delSp modSp add mod">
        <pc:chgData name="zhida zhang" userId="1cf27fca-bd90-4836-a1b0-7476e3b584b3" providerId="ADAL" clId="{6A059BB1-1DF4-44CB-96DF-73661741CA15}" dt="2021-10-20T13:20:18.050" v="939" actId="14100"/>
        <pc:sldMkLst>
          <pc:docMk/>
          <pc:sldMk cId="3426313049" sldId="313"/>
        </pc:sldMkLst>
        <pc:picChg chg="del">
          <ac:chgData name="zhida zhang" userId="1cf27fca-bd90-4836-a1b0-7476e3b584b3" providerId="ADAL" clId="{6A059BB1-1DF4-44CB-96DF-73661741CA15}" dt="2021-10-20T13:20:08.278" v="933" actId="478"/>
          <ac:picMkLst>
            <pc:docMk/>
            <pc:sldMk cId="3426313049" sldId="313"/>
            <ac:picMk id="2" creationId="{FB8DD9C2-690E-4A91-8BEB-32992FE8B388}"/>
          </ac:picMkLst>
        </pc:picChg>
        <pc:picChg chg="add mod">
          <ac:chgData name="zhida zhang" userId="1cf27fca-bd90-4836-a1b0-7476e3b584b3" providerId="ADAL" clId="{6A059BB1-1DF4-44CB-96DF-73661741CA15}" dt="2021-10-20T13:20:18.050" v="939" actId="14100"/>
          <ac:picMkLst>
            <pc:docMk/>
            <pc:sldMk cId="3426313049" sldId="313"/>
            <ac:picMk id="22" creationId="{9E946C4B-B6D7-4DC0-A2DD-D358939CC04B}"/>
          </ac:picMkLst>
        </pc:picChg>
        <pc:inkChg chg="del">
          <ac:chgData name="zhida zhang" userId="1cf27fca-bd90-4836-a1b0-7476e3b584b3" providerId="ADAL" clId="{6A059BB1-1DF4-44CB-96DF-73661741CA15}" dt="2021-10-20T13:20:09.619" v="934" actId="478"/>
          <ac:inkMkLst>
            <pc:docMk/>
            <pc:sldMk cId="3426313049" sldId="313"/>
            <ac:inkMk id="7" creationId="{5A8F60B3-6AC3-49A5-83B6-6B3896930AB0}"/>
          </ac:inkMkLst>
        </pc:inkChg>
      </pc:sldChg>
      <pc:sldChg chg="add">
        <pc:chgData name="zhida zhang" userId="1cf27fca-bd90-4836-a1b0-7476e3b584b3" providerId="ADAL" clId="{6A059BB1-1DF4-44CB-96DF-73661741CA15}" dt="2021-10-12T09:53:20.554" v="89"/>
        <pc:sldMkLst>
          <pc:docMk/>
          <pc:sldMk cId="2469131820" sldId="314"/>
        </pc:sldMkLst>
      </pc:sldChg>
      <pc:sldChg chg="addSp modSp add mod">
        <pc:chgData name="zhida zhang" userId="1cf27fca-bd90-4836-a1b0-7476e3b584b3" providerId="ADAL" clId="{6A059BB1-1DF4-44CB-96DF-73661741CA15}" dt="2021-10-20T13:37:54.150" v="1081" actId="20577"/>
        <pc:sldMkLst>
          <pc:docMk/>
          <pc:sldMk cId="1942348074" sldId="315"/>
        </pc:sldMkLst>
        <pc:spChg chg="add mod">
          <ac:chgData name="zhida zhang" userId="1cf27fca-bd90-4836-a1b0-7476e3b584b3" providerId="ADAL" clId="{6A059BB1-1DF4-44CB-96DF-73661741CA15}" dt="2021-10-20T13:37:54.150" v="1081" actId="20577"/>
          <ac:spMkLst>
            <pc:docMk/>
            <pc:sldMk cId="1942348074" sldId="315"/>
            <ac:spMk id="6" creationId="{FC652EF3-B629-4486-B407-7AF42C33E08C}"/>
          </ac:spMkLst>
        </pc:spChg>
        <pc:spChg chg="mod">
          <ac:chgData name="zhida zhang" userId="1cf27fca-bd90-4836-a1b0-7476e3b584b3" providerId="ADAL" clId="{6A059BB1-1DF4-44CB-96DF-73661741CA15}" dt="2021-10-17T20:55:07.580" v="267" actId="20577"/>
          <ac:spMkLst>
            <pc:docMk/>
            <pc:sldMk cId="1942348074" sldId="315"/>
            <ac:spMk id="33" creationId="{FE040AD5-0D68-4621-AB86-12A9EDCCF60D}"/>
          </ac:spMkLst>
        </pc:spChg>
        <pc:graphicFrameChg chg="add mod modGraphic">
          <ac:chgData name="zhida zhang" userId="1cf27fca-bd90-4836-a1b0-7476e3b584b3" providerId="ADAL" clId="{6A059BB1-1DF4-44CB-96DF-73661741CA15}" dt="2021-10-20T13:35:03.382" v="1016" actId="207"/>
          <ac:graphicFrameMkLst>
            <pc:docMk/>
            <pc:sldMk cId="1942348074" sldId="315"/>
            <ac:graphicFrameMk id="2" creationId="{BDEDC1FB-A621-4538-8703-BC7FAD8FD25C}"/>
          </ac:graphicFrameMkLst>
        </pc:graphicFrameChg>
      </pc:sldChg>
      <pc:sldChg chg="addSp delSp modSp add mod">
        <pc:chgData name="zhida zhang" userId="1cf27fca-bd90-4836-a1b0-7476e3b584b3" providerId="ADAL" clId="{6A059BB1-1DF4-44CB-96DF-73661741CA15}" dt="2021-10-20T13:39:19.246" v="1157" actId="478"/>
        <pc:sldMkLst>
          <pc:docMk/>
          <pc:sldMk cId="2840091132" sldId="316"/>
        </pc:sldMkLst>
        <pc:spChg chg="add mod">
          <ac:chgData name="zhida zhang" userId="1cf27fca-bd90-4836-a1b0-7476e3b584b3" providerId="ADAL" clId="{6A059BB1-1DF4-44CB-96DF-73661741CA15}" dt="2021-10-20T13:39:13.980" v="1156" actId="20577"/>
          <ac:spMkLst>
            <pc:docMk/>
            <pc:sldMk cId="2840091132" sldId="316"/>
            <ac:spMk id="6" creationId="{E27B92E4-B9B2-4FE2-822D-E15326354928}"/>
          </ac:spMkLst>
        </pc:spChg>
        <pc:spChg chg="del">
          <ac:chgData name="zhida zhang" userId="1cf27fca-bd90-4836-a1b0-7476e3b584b3" providerId="ADAL" clId="{6A059BB1-1DF4-44CB-96DF-73661741CA15}" dt="2021-10-20T13:39:19.246" v="1157" actId="478"/>
          <ac:spMkLst>
            <pc:docMk/>
            <pc:sldMk cId="2840091132" sldId="316"/>
            <ac:spMk id="7" creationId="{C22DAE44-D050-49CD-A26D-8DE9BDB9E7F0}"/>
          </ac:spMkLst>
        </pc:spChg>
        <pc:spChg chg="mod">
          <ac:chgData name="zhida zhang" userId="1cf27fca-bd90-4836-a1b0-7476e3b584b3" providerId="ADAL" clId="{6A059BB1-1DF4-44CB-96DF-73661741CA15}" dt="2021-10-17T20:54:59.251" v="249" actId="20577"/>
          <ac:spMkLst>
            <pc:docMk/>
            <pc:sldMk cId="2840091132" sldId="316"/>
            <ac:spMk id="33" creationId="{FE040AD5-0D68-4621-AB86-12A9EDCCF60D}"/>
          </ac:spMkLst>
        </pc:spChg>
        <pc:graphicFrameChg chg="add mod modGraphic">
          <ac:chgData name="zhida zhang" userId="1cf27fca-bd90-4836-a1b0-7476e3b584b3" providerId="ADAL" clId="{6A059BB1-1DF4-44CB-96DF-73661741CA15}" dt="2021-10-20T13:35:12.945" v="1017" actId="207"/>
          <ac:graphicFrameMkLst>
            <pc:docMk/>
            <pc:sldMk cId="2840091132" sldId="316"/>
            <ac:graphicFrameMk id="2" creationId="{EC17FD42-03F8-4F72-B551-5E15079E50DD}"/>
          </ac:graphicFrameMkLst>
        </pc:graphicFrameChg>
      </pc:sldChg>
      <pc:sldChg chg="add">
        <pc:chgData name="zhida zhang" userId="1cf27fca-bd90-4836-a1b0-7476e3b584b3" providerId="ADAL" clId="{6A059BB1-1DF4-44CB-96DF-73661741CA15}" dt="2021-10-12T09:53:20.554" v="89"/>
        <pc:sldMkLst>
          <pc:docMk/>
          <pc:sldMk cId="3030876018" sldId="317"/>
        </pc:sldMkLst>
      </pc:sldChg>
      <pc:sldChg chg="add">
        <pc:chgData name="zhida zhang" userId="1cf27fca-bd90-4836-a1b0-7476e3b584b3" providerId="ADAL" clId="{6A059BB1-1DF4-44CB-96DF-73661741CA15}" dt="2021-10-12T09:53:20.554" v="89"/>
        <pc:sldMkLst>
          <pc:docMk/>
          <pc:sldMk cId="144855330" sldId="318"/>
        </pc:sldMkLst>
      </pc:sldChg>
      <pc:sldChg chg="delSp modSp add mod setBg delDesignElem">
        <pc:chgData name="zhida zhang" userId="1cf27fca-bd90-4836-a1b0-7476e3b584b3" providerId="ADAL" clId="{6A059BB1-1DF4-44CB-96DF-73661741CA15}" dt="2021-10-20T14:26:29.678" v="1630" actId="20577"/>
        <pc:sldMkLst>
          <pc:docMk/>
          <pc:sldMk cId="59782169" sldId="319"/>
        </pc:sldMkLst>
        <pc:spChg chg="del">
          <ac:chgData name="zhida zhang" userId="1cf27fca-bd90-4836-a1b0-7476e3b584b3" providerId="ADAL" clId="{6A059BB1-1DF4-44CB-96DF-73661741CA15}" dt="2021-10-12T09:53:20.554" v="89"/>
          <ac:spMkLst>
            <pc:docMk/>
            <pc:sldMk cId="59782169" sldId="319"/>
            <ac:spMk id="10" creationId="{6314D791-4D8A-4854-B8FC-6959656D09AD}"/>
          </ac:spMkLst>
        </pc:spChg>
        <pc:spChg chg="del">
          <ac:chgData name="zhida zhang" userId="1cf27fca-bd90-4836-a1b0-7476e3b584b3" providerId="ADAL" clId="{6A059BB1-1DF4-44CB-96DF-73661741CA15}" dt="2021-10-12T09:53:20.554" v="89"/>
          <ac:spMkLst>
            <pc:docMk/>
            <pc:sldMk cId="59782169" sldId="319"/>
            <ac:spMk id="12" creationId="{15076E76-3EB3-4269-8135-07CAB20E59A5}"/>
          </ac:spMkLst>
        </pc:spChg>
        <pc:spChg chg="mod">
          <ac:chgData name="zhida zhang" userId="1cf27fca-bd90-4836-a1b0-7476e3b584b3" providerId="ADAL" clId="{6A059BB1-1DF4-44CB-96DF-73661741CA15}" dt="2021-10-20T14:26:29.678" v="1630" actId="20577"/>
          <ac:spMkLst>
            <pc:docMk/>
            <pc:sldMk cId="59782169" sldId="319"/>
            <ac:spMk id="27" creationId="{846961D8-61BB-4898-A874-42A487CE975C}"/>
          </ac:spMkLst>
        </pc:spChg>
        <pc:grpChg chg="del">
          <ac:chgData name="zhida zhang" userId="1cf27fca-bd90-4836-a1b0-7476e3b584b3" providerId="ADAL" clId="{6A059BB1-1DF4-44CB-96DF-73661741CA15}" dt="2021-10-12T09:53:20.554" v="89"/>
          <ac:grpSpMkLst>
            <pc:docMk/>
            <pc:sldMk cId="59782169" sldId="319"/>
            <ac:grpSpMk id="14" creationId="{5EB3C7E5-50E1-4F9E-AEA3-A6D2190394F1}"/>
          </ac:grpSpMkLst>
        </pc:grpChg>
        <pc:grpChg chg="del">
          <ac:chgData name="zhida zhang" userId="1cf27fca-bd90-4836-a1b0-7476e3b584b3" providerId="ADAL" clId="{6A059BB1-1DF4-44CB-96DF-73661741CA15}" dt="2021-10-12T09:53:20.554" v="89"/>
          <ac:grpSpMkLst>
            <pc:docMk/>
            <pc:sldMk cId="59782169" sldId="319"/>
            <ac:grpSpMk id="19" creationId="{B988F9A4-0578-4C59-8B4A-346E02CF3A3F}"/>
          </ac:grpSpMkLst>
        </pc:grpChg>
      </pc:sldChg>
      <pc:sldChg chg="delSp add setBg delDesignElem">
        <pc:chgData name="zhida zhang" userId="1cf27fca-bd90-4836-a1b0-7476e3b584b3" providerId="ADAL" clId="{6A059BB1-1DF4-44CB-96DF-73661741CA15}" dt="2021-10-12T09:53:20.554" v="89"/>
        <pc:sldMkLst>
          <pc:docMk/>
          <pc:sldMk cId="439503566" sldId="321"/>
        </pc:sldMkLst>
        <pc:spChg chg="del">
          <ac:chgData name="zhida zhang" userId="1cf27fca-bd90-4836-a1b0-7476e3b584b3" providerId="ADAL" clId="{6A059BB1-1DF4-44CB-96DF-73661741CA15}" dt="2021-10-12T09:53:20.554" v="89"/>
          <ac:spMkLst>
            <pc:docMk/>
            <pc:sldMk cId="439503566" sldId="321"/>
            <ac:spMk id="23" creationId="{C8320351-9FA2-4A26-885B-BB8F3E4902D2}"/>
          </ac:spMkLst>
        </pc:spChg>
        <pc:spChg chg="del">
          <ac:chgData name="zhida zhang" userId="1cf27fca-bd90-4836-a1b0-7476e3b584b3" providerId="ADAL" clId="{6A059BB1-1DF4-44CB-96DF-73661741CA15}" dt="2021-10-12T09:53:20.554" v="89"/>
          <ac:spMkLst>
            <pc:docMk/>
            <pc:sldMk cId="439503566" sldId="321"/>
            <ac:spMk id="24" creationId="{68CD2EFB-78C2-4C6E-A6B9-4ED12FAD5B99}"/>
          </ac:spMkLst>
        </pc:spChg>
      </pc:sldChg>
      <pc:sldChg chg="add setBg">
        <pc:chgData name="zhida zhang" userId="1cf27fca-bd90-4836-a1b0-7476e3b584b3" providerId="ADAL" clId="{6A059BB1-1DF4-44CB-96DF-73661741CA15}" dt="2021-10-12T09:53:20.554" v="89"/>
        <pc:sldMkLst>
          <pc:docMk/>
          <pc:sldMk cId="265307825" sldId="322"/>
        </pc:sldMkLst>
      </pc:sldChg>
      <pc:sldChg chg="add">
        <pc:chgData name="zhida zhang" userId="1cf27fca-bd90-4836-a1b0-7476e3b584b3" providerId="ADAL" clId="{6A059BB1-1DF4-44CB-96DF-73661741CA15}" dt="2021-10-12T09:53:20.554" v="89"/>
        <pc:sldMkLst>
          <pc:docMk/>
          <pc:sldMk cId="3235096158" sldId="323"/>
        </pc:sldMkLst>
      </pc:sldChg>
      <pc:sldChg chg="add">
        <pc:chgData name="zhida zhang" userId="1cf27fca-bd90-4836-a1b0-7476e3b584b3" providerId="ADAL" clId="{6A059BB1-1DF4-44CB-96DF-73661741CA15}" dt="2021-10-12T09:53:20.554" v="89"/>
        <pc:sldMkLst>
          <pc:docMk/>
          <pc:sldMk cId="2496740287" sldId="324"/>
        </pc:sldMkLst>
      </pc:sldChg>
      <pc:sldChg chg="add">
        <pc:chgData name="zhida zhang" userId="1cf27fca-bd90-4836-a1b0-7476e3b584b3" providerId="ADAL" clId="{6A059BB1-1DF4-44CB-96DF-73661741CA15}" dt="2021-10-12T09:53:20.554" v="89"/>
        <pc:sldMkLst>
          <pc:docMk/>
          <pc:sldMk cId="1980604428" sldId="325"/>
        </pc:sldMkLst>
      </pc:sldChg>
      <pc:sldChg chg="addSp delSp modSp mod">
        <pc:chgData name="zhida zhang" userId="1cf27fca-bd90-4836-a1b0-7476e3b584b3" providerId="ADAL" clId="{6A059BB1-1DF4-44CB-96DF-73661741CA15}" dt="2021-10-21T19:25:58.300" v="3662" actId="20577"/>
        <pc:sldMkLst>
          <pc:docMk/>
          <pc:sldMk cId="427788499" sldId="355"/>
        </pc:sldMkLst>
        <pc:spChg chg="mod">
          <ac:chgData name="zhida zhang" userId="1cf27fca-bd90-4836-a1b0-7476e3b584b3" providerId="ADAL" clId="{6A059BB1-1DF4-44CB-96DF-73661741CA15}" dt="2021-10-21T18:47:29.265" v="1931" actId="948"/>
          <ac:spMkLst>
            <pc:docMk/>
            <pc:sldMk cId="427788499" sldId="355"/>
            <ac:spMk id="2" creationId="{0BB1B739-D6C1-C140-B4BE-CAC84626E9CA}"/>
          </ac:spMkLst>
        </pc:spChg>
        <pc:spChg chg="mod">
          <ac:chgData name="zhida zhang" userId="1cf27fca-bd90-4836-a1b0-7476e3b584b3" providerId="ADAL" clId="{6A059BB1-1DF4-44CB-96DF-73661741CA15}" dt="2021-10-21T19:25:58.300" v="3662" actId="20577"/>
          <ac:spMkLst>
            <pc:docMk/>
            <pc:sldMk cId="427788499" sldId="355"/>
            <ac:spMk id="3" creationId="{7F6D20A9-20CF-B844-A800-7593ACD2DDB3}"/>
          </ac:spMkLst>
        </pc:spChg>
        <pc:spChg chg="add del mod modVis">
          <ac:chgData name="zhida zhang" userId="1cf27fca-bd90-4836-a1b0-7476e3b584b3" providerId="ADAL" clId="{6A059BB1-1DF4-44CB-96DF-73661741CA15}" dt="2021-10-21T18:47:12.724" v="1673"/>
          <ac:spMkLst>
            <pc:docMk/>
            <pc:sldMk cId="427788499" sldId="355"/>
            <ac:spMk id="5" creationId="{3EE40A13-805A-4A76-AE04-5243F37725F8}"/>
          </ac:spMkLst>
        </pc:spChg>
        <pc:spChg chg="add del mod modVis">
          <ac:chgData name="zhida zhang" userId="1cf27fca-bd90-4836-a1b0-7476e3b584b3" providerId="ADAL" clId="{6A059BB1-1DF4-44CB-96DF-73661741CA15}" dt="2021-10-21T18:47:14.145" v="1736"/>
          <ac:spMkLst>
            <pc:docMk/>
            <pc:sldMk cId="427788499" sldId="355"/>
            <ac:spMk id="7" creationId="{F463006C-3E44-4149-BAA2-34A64B5C8B60}"/>
          </ac:spMkLst>
        </pc:spChg>
        <pc:spChg chg="add del mod modVis">
          <ac:chgData name="zhida zhang" userId="1cf27fca-bd90-4836-a1b0-7476e3b584b3" providerId="ADAL" clId="{6A059BB1-1DF4-44CB-96DF-73661741CA15}" dt="2021-10-21T18:47:14.760" v="1780"/>
          <ac:spMkLst>
            <pc:docMk/>
            <pc:sldMk cId="427788499" sldId="355"/>
            <ac:spMk id="8" creationId="{0253C755-AC54-4E2E-813E-90C84F92580F}"/>
          </ac:spMkLst>
        </pc:spChg>
        <pc:spChg chg="add del mod modVis">
          <ac:chgData name="zhida zhang" userId="1cf27fca-bd90-4836-a1b0-7476e3b584b3" providerId="ADAL" clId="{6A059BB1-1DF4-44CB-96DF-73661741CA15}" dt="2021-10-21T18:47:18.258" v="1837"/>
          <ac:spMkLst>
            <pc:docMk/>
            <pc:sldMk cId="427788499" sldId="355"/>
            <ac:spMk id="9" creationId="{191E6FCD-318E-42F4-82BC-924C8C609748}"/>
          </ac:spMkLst>
        </pc:spChg>
        <pc:spChg chg="add del mod modVis">
          <ac:chgData name="zhida zhang" userId="1cf27fca-bd90-4836-a1b0-7476e3b584b3" providerId="ADAL" clId="{6A059BB1-1DF4-44CB-96DF-73661741CA15}" dt="2021-10-21T18:47:19.716" v="1882"/>
          <ac:spMkLst>
            <pc:docMk/>
            <pc:sldMk cId="427788499" sldId="355"/>
            <ac:spMk id="10" creationId="{DCC7EE20-8FC5-48F9-9F42-6A57A4F1E311}"/>
          </ac:spMkLst>
        </pc:spChg>
        <pc:spChg chg="add del mod modVis">
          <ac:chgData name="zhida zhang" userId="1cf27fca-bd90-4836-a1b0-7476e3b584b3" providerId="ADAL" clId="{6A059BB1-1DF4-44CB-96DF-73661741CA15}" dt="2021-10-21T18:47:23.198" v="1927"/>
          <ac:spMkLst>
            <pc:docMk/>
            <pc:sldMk cId="427788499" sldId="355"/>
            <ac:spMk id="11" creationId="{9B9AABA3-4FF0-414A-97EB-93DD3399D2E8}"/>
          </ac:spMkLst>
        </pc:spChg>
        <pc:spChg chg="add del mod modVis">
          <ac:chgData name="zhida zhang" userId="1cf27fca-bd90-4836-a1b0-7476e3b584b3" providerId="ADAL" clId="{6A059BB1-1DF4-44CB-96DF-73661741CA15}" dt="2021-10-21T18:47:29.289" v="1971"/>
          <ac:spMkLst>
            <pc:docMk/>
            <pc:sldMk cId="427788499" sldId="355"/>
            <ac:spMk id="12" creationId="{6B4EE10C-90F5-4DF9-8DF1-B40905AB0648}"/>
          </ac:spMkLst>
        </pc:spChg>
        <pc:graphicFrameChg chg="add mod ord modVis replST">
          <ac:chgData name="zhida zhang" userId="1cf27fca-bd90-4836-a1b0-7476e3b584b3" providerId="ADAL" clId="{6A059BB1-1DF4-44CB-96DF-73661741CA15}" dt="2021-10-21T18:47:29.291" v="1973"/>
          <ac:graphicFrameMkLst>
            <pc:docMk/>
            <pc:sldMk cId="427788499" sldId="355"/>
            <ac:graphicFrameMk id="6" creationId="{0DC7F07D-2245-420E-9852-DC21DE09E2AF}"/>
          </ac:graphicFrameMkLst>
        </pc:graphicFrameChg>
      </pc:sldChg>
      <pc:sldMasterChg chg="addSp delSp modSp mod">
        <pc:chgData name="zhida zhang" userId="1cf27fca-bd90-4836-a1b0-7476e3b584b3" providerId="ADAL" clId="{6A059BB1-1DF4-44CB-96DF-73661741CA15}" dt="2021-10-12T09:53:21.299" v="184"/>
        <pc:sldMasterMkLst>
          <pc:docMk/>
          <pc:sldMasterMk cId="1910776074" sldId="2147483648"/>
        </pc:sldMasterMkLst>
        <pc:spChg chg="mod">
          <ac:chgData name="zhida zhang" userId="1cf27fca-bd90-4836-a1b0-7476e3b584b3" providerId="ADAL" clId="{6A059BB1-1DF4-44CB-96DF-73661741CA15}" dt="2021-10-12T09:53:21.072" v="90" actId="948"/>
          <ac:spMkLst>
            <pc:docMk/>
            <pc:sldMasterMk cId="1910776074" sldId="2147483648"/>
            <ac:spMk id="2" creationId="{674252A2-8B26-4C89-BBC4-5F925FDA8B43}"/>
          </ac:spMkLst>
        </pc:spChg>
        <pc:spChg chg="add del mod modVis">
          <ac:chgData name="zhida zhang" userId="1cf27fca-bd90-4836-a1b0-7476e3b584b3" providerId="ADAL" clId="{6A059BB1-1DF4-44CB-96DF-73661741CA15}" dt="2021-10-12T09:53:21.170" v="168"/>
          <ac:spMkLst>
            <pc:docMk/>
            <pc:sldMasterMk cId="1910776074" sldId="2147483648"/>
            <ac:spMk id="7" creationId="{ABE0EA3C-7DDE-4C4D-9D77-C2849F994652}"/>
          </ac:spMkLst>
        </pc:spChg>
        <pc:graphicFrameChg chg="add mod ord modVis replST">
          <ac:chgData name="zhida zhang" userId="1cf27fca-bd90-4836-a1b0-7476e3b584b3" providerId="ADAL" clId="{6A059BB1-1DF4-44CB-96DF-73661741CA15}" dt="2021-10-12T09:53:21.299" v="184"/>
          <ac:graphicFrameMkLst>
            <pc:docMk/>
            <pc:sldMasterMk cId="1910776074" sldId="2147483648"/>
            <ac:graphicFrameMk id="8" creationId="{BAC842E3-3627-482F-AE49-050E04757539}"/>
          </ac:graphicFrameMkLst>
        </pc:graphicFrameChg>
      </pc:sldMasterChg>
    </pc:docChg>
  </pc:docChgLst>
  <pc:docChgLst>
    <pc:chgData name="Yudi Wang" userId="S::yudi.wang@fs-students.de::d6d3e1ff-7fbc-44f4-bef1-29aa738b3b63" providerId="AD" clId="Web-{CE6E67F1-420F-47F2-95FB-2DDA92EF5BDD}"/>
    <pc:docChg chg="modSld">
      <pc:chgData name="Yudi Wang" userId="S::yudi.wang@fs-students.de::d6d3e1ff-7fbc-44f4-bef1-29aa738b3b63" providerId="AD" clId="Web-{CE6E67F1-420F-47F2-95FB-2DDA92EF5BDD}" dt="2021-10-19T11:17:03.847" v="411"/>
      <pc:docMkLst>
        <pc:docMk/>
      </pc:docMkLst>
      <pc:sldChg chg="delSp modSp">
        <pc:chgData name="Yudi Wang" userId="S::yudi.wang@fs-students.de::d6d3e1ff-7fbc-44f4-bef1-29aa738b3b63" providerId="AD" clId="Web-{CE6E67F1-420F-47F2-95FB-2DDA92EF5BDD}" dt="2021-10-19T11:14:36.859" v="390" actId="20577"/>
        <pc:sldMkLst>
          <pc:docMk/>
          <pc:sldMk cId="933643179" sldId="262"/>
        </pc:sldMkLst>
        <pc:spChg chg="mod">
          <ac:chgData name="Yudi Wang" userId="S::yudi.wang@fs-students.de::d6d3e1ff-7fbc-44f4-bef1-29aa738b3b63" providerId="AD" clId="Web-{CE6E67F1-420F-47F2-95FB-2DDA92EF5BDD}" dt="2021-10-19T11:14:36.859" v="390" actId="20577"/>
          <ac:spMkLst>
            <pc:docMk/>
            <pc:sldMk cId="933643179" sldId="262"/>
            <ac:spMk id="2" creationId="{C0066270-25A3-492B-B1CD-ADABD7B17E05}"/>
          </ac:spMkLst>
        </pc:spChg>
        <pc:spChg chg="del mod">
          <ac:chgData name="Yudi Wang" userId="S::yudi.wang@fs-students.de::d6d3e1ff-7fbc-44f4-bef1-29aa738b3b63" providerId="AD" clId="Web-{CE6E67F1-420F-47F2-95FB-2DDA92EF5BDD}" dt="2021-10-19T11:12:29.715" v="366"/>
          <ac:spMkLst>
            <pc:docMk/>
            <pc:sldMk cId="933643179" sldId="262"/>
            <ac:spMk id="13" creationId="{41754253-601B-4057-AD51-A64C541C0C24}"/>
          </ac:spMkLst>
        </pc:spChg>
      </pc:sldChg>
      <pc:sldChg chg="addSp delSp modSp">
        <pc:chgData name="Yudi Wang" userId="S::yudi.wang@fs-students.de::d6d3e1ff-7fbc-44f4-bef1-29aa738b3b63" providerId="AD" clId="Web-{CE6E67F1-420F-47F2-95FB-2DDA92EF5BDD}" dt="2021-10-19T11:17:03.847" v="411"/>
        <pc:sldMkLst>
          <pc:docMk/>
          <pc:sldMk cId="4276621269" sldId="312"/>
        </pc:sldMkLst>
        <pc:spChg chg="mod">
          <ac:chgData name="Yudi Wang" userId="S::yudi.wang@fs-students.de::d6d3e1ff-7fbc-44f4-bef1-29aa738b3b63" providerId="AD" clId="Web-{CE6E67F1-420F-47F2-95FB-2DDA92EF5BDD}" dt="2021-10-19T11:11:40.244" v="334" actId="20577"/>
          <ac:spMkLst>
            <pc:docMk/>
            <pc:sldMk cId="4276621269" sldId="312"/>
            <ac:spMk id="6" creationId="{B0698DA7-CCBF-4F25-80A2-209C24DE3F1F}"/>
          </ac:spMkLst>
        </pc:spChg>
        <pc:picChg chg="add del mod">
          <ac:chgData name="Yudi Wang" userId="S::yudi.wang@fs-students.de::d6d3e1ff-7fbc-44f4-bef1-29aa738b3b63" providerId="AD" clId="Web-{CE6E67F1-420F-47F2-95FB-2DDA92EF5BDD}" dt="2021-10-19T10:06:13.659" v="5"/>
          <ac:picMkLst>
            <pc:docMk/>
            <pc:sldMk cId="4276621269" sldId="312"/>
            <ac:picMk id="2" creationId="{3E500D4F-8952-4665-8845-7C9AAA466920}"/>
          </ac:picMkLst>
        </pc:picChg>
        <pc:picChg chg="add mod">
          <ac:chgData name="Yudi Wang" userId="S::yudi.wang@fs-students.de::d6d3e1ff-7fbc-44f4-bef1-29aa738b3b63" providerId="AD" clId="Web-{CE6E67F1-420F-47F2-95FB-2DDA92EF5BDD}" dt="2021-10-19T11:07:45.676" v="284" actId="1076"/>
          <ac:picMkLst>
            <pc:docMk/>
            <pc:sldMk cId="4276621269" sldId="312"/>
            <ac:picMk id="2" creationId="{52803AD5-E7F8-42FE-A243-5B7C141A14B6}"/>
          </ac:picMkLst>
        </pc:picChg>
        <pc:picChg chg="add del mod">
          <ac:chgData name="Yudi Wang" userId="S::yudi.wang@fs-students.de::d6d3e1ff-7fbc-44f4-bef1-29aa738b3b63" providerId="AD" clId="Web-{CE6E67F1-420F-47F2-95FB-2DDA92EF5BDD}" dt="2021-10-19T10:16:25.380" v="229"/>
          <ac:picMkLst>
            <pc:docMk/>
            <pc:sldMk cId="4276621269" sldId="312"/>
            <ac:picMk id="3" creationId="{CF9E77AD-771F-4E18-ADF8-F67BCFB07702}"/>
          </ac:picMkLst>
        </pc:picChg>
        <pc:inkChg chg="add">
          <ac:chgData name="Yudi Wang" userId="S::yudi.wang@fs-students.de::d6d3e1ff-7fbc-44f4-bef1-29aa738b3b63" providerId="AD" clId="Web-{CE6E67F1-420F-47F2-95FB-2DDA92EF5BDD}" dt="2021-10-19T11:17:03.831" v="410"/>
          <ac:inkMkLst>
            <pc:docMk/>
            <pc:sldMk cId="4276621269" sldId="312"/>
            <ac:inkMk id="3" creationId="{370714F9-9124-4845-BD8E-DDC6AFBE396B}"/>
          </ac:inkMkLst>
        </pc:inkChg>
        <pc:inkChg chg="add">
          <ac:chgData name="Yudi Wang" userId="S::yudi.wang@fs-students.de::d6d3e1ff-7fbc-44f4-bef1-29aa738b3b63" providerId="AD" clId="Web-{CE6E67F1-420F-47F2-95FB-2DDA92EF5BDD}" dt="2021-10-19T11:17:03.847" v="411"/>
          <ac:inkMkLst>
            <pc:docMk/>
            <pc:sldMk cId="4276621269" sldId="312"/>
            <ac:inkMk id="4" creationId="{C1AFEEDC-1FBB-4ACE-B5DF-B21D3DB6C01D}"/>
          </ac:inkMkLst>
        </pc:inkChg>
      </pc:sldChg>
      <pc:sldChg chg="addSp delSp modSp modNotes">
        <pc:chgData name="Yudi Wang" userId="S::yudi.wang@fs-students.de::d6d3e1ff-7fbc-44f4-bef1-29aa738b3b63" providerId="AD" clId="Web-{CE6E67F1-420F-47F2-95FB-2DDA92EF5BDD}" dt="2021-10-19T11:17:00.362" v="408"/>
        <pc:sldMkLst>
          <pc:docMk/>
          <pc:sldMk cId="3426313049" sldId="313"/>
        </pc:sldMkLst>
        <pc:spChg chg="add mod">
          <ac:chgData name="Yudi Wang" userId="S::yudi.wang@fs-students.de::d6d3e1ff-7fbc-44f4-bef1-29aa738b3b63" providerId="AD" clId="Web-{CE6E67F1-420F-47F2-95FB-2DDA92EF5BDD}" dt="2021-10-19T11:10:23.164" v="325" actId="1076"/>
          <ac:spMkLst>
            <pc:docMk/>
            <pc:sldMk cId="3426313049" sldId="313"/>
            <ac:spMk id="3" creationId="{BAAEDDE1-3023-44D9-AA6A-667159C272A7}"/>
          </ac:spMkLst>
        </pc:spChg>
        <pc:spChg chg="mod">
          <ac:chgData name="Yudi Wang" userId="S::yudi.wang@fs-students.de::d6d3e1ff-7fbc-44f4-bef1-29aa738b3b63" providerId="AD" clId="Web-{CE6E67F1-420F-47F2-95FB-2DDA92EF5BDD}" dt="2021-10-19T11:12:14.027" v="350" actId="20577"/>
          <ac:spMkLst>
            <pc:docMk/>
            <pc:sldMk cId="3426313049" sldId="313"/>
            <ac:spMk id="6" creationId="{B0698DA7-CCBF-4F25-80A2-209C24DE3F1F}"/>
          </ac:spMkLst>
        </pc:spChg>
        <pc:spChg chg="del mod">
          <ac:chgData name="Yudi Wang" userId="S::yudi.wang@fs-students.de::d6d3e1ff-7fbc-44f4-bef1-29aa738b3b63" providerId="AD" clId="Web-{CE6E67F1-420F-47F2-95FB-2DDA92EF5BDD}" dt="2021-10-19T10:19:20.729" v="257"/>
          <ac:spMkLst>
            <pc:docMk/>
            <pc:sldMk cId="3426313049" sldId="313"/>
            <ac:spMk id="9" creationId="{FE53DFC1-E809-4964-8447-D19B74AB7A22}"/>
          </ac:spMkLst>
        </pc:spChg>
        <pc:picChg chg="add mod">
          <ac:chgData name="Yudi Wang" userId="S::yudi.wang@fs-students.de::d6d3e1ff-7fbc-44f4-bef1-29aa738b3b63" providerId="AD" clId="Web-{CE6E67F1-420F-47F2-95FB-2DDA92EF5BDD}" dt="2021-10-19T10:16:48.724" v="238" actId="1076"/>
          <ac:picMkLst>
            <pc:docMk/>
            <pc:sldMk cId="3426313049" sldId="313"/>
            <ac:picMk id="2" creationId="{FB8DD9C2-690E-4A91-8BEB-32992FE8B388}"/>
          </ac:picMkLst>
        </pc:picChg>
        <pc:inkChg chg="add del">
          <ac:chgData name="Yudi Wang" userId="S::yudi.wang@fs-students.de::d6d3e1ff-7fbc-44f4-bef1-29aa738b3b63" providerId="AD" clId="Web-{CE6E67F1-420F-47F2-95FB-2DDA92EF5BDD}" dt="2021-10-19T11:16:08.611" v="392"/>
          <ac:inkMkLst>
            <pc:docMk/>
            <pc:sldMk cId="3426313049" sldId="313"/>
            <ac:inkMk id="4" creationId="{15DAA8A0-912E-46BD-9044-72683599062C}"/>
          </ac:inkMkLst>
        </pc:inkChg>
        <pc:inkChg chg="add">
          <ac:chgData name="Yudi Wang" userId="S::yudi.wang@fs-students.de::d6d3e1ff-7fbc-44f4-bef1-29aa738b3b63" providerId="AD" clId="Web-{CE6E67F1-420F-47F2-95FB-2DDA92EF5BDD}" dt="2021-10-19T11:16:26.205" v="393"/>
          <ac:inkMkLst>
            <pc:docMk/>
            <pc:sldMk cId="3426313049" sldId="313"/>
            <ac:inkMk id="7" creationId="{5A8F60B3-6AC3-49A5-83B6-6B3896930AB0}"/>
          </ac:inkMkLst>
        </pc:inkChg>
        <pc:inkChg chg="add">
          <ac:chgData name="Yudi Wang" userId="S::yudi.wang@fs-students.de::d6d3e1ff-7fbc-44f4-bef1-29aa738b3b63" providerId="AD" clId="Web-{CE6E67F1-420F-47F2-95FB-2DDA92EF5BDD}" dt="2021-10-19T11:16:38.002" v="394"/>
          <ac:inkMkLst>
            <pc:docMk/>
            <pc:sldMk cId="3426313049" sldId="313"/>
            <ac:inkMk id="8" creationId="{D99A034E-2262-4C8B-BF89-CFF3F8947930}"/>
          </ac:inkMkLst>
        </pc:inkChg>
        <pc:inkChg chg="add">
          <ac:chgData name="Yudi Wang" userId="S::yudi.wang@fs-students.de::d6d3e1ff-7fbc-44f4-bef1-29aa738b3b63" providerId="AD" clId="Web-{CE6E67F1-420F-47F2-95FB-2DDA92EF5BDD}" dt="2021-10-19T11:16:38.018" v="395"/>
          <ac:inkMkLst>
            <pc:docMk/>
            <pc:sldMk cId="3426313049" sldId="313"/>
            <ac:inkMk id="9" creationId="{ED5EE1F2-516A-4A61-A7FB-0F1C876FDD33}"/>
          </ac:inkMkLst>
        </pc:inkChg>
        <pc:inkChg chg="add">
          <ac:chgData name="Yudi Wang" userId="S::yudi.wang@fs-students.de::d6d3e1ff-7fbc-44f4-bef1-29aa738b3b63" providerId="AD" clId="Web-{CE6E67F1-420F-47F2-95FB-2DDA92EF5BDD}" dt="2021-10-19T11:16:38.690" v="396"/>
          <ac:inkMkLst>
            <pc:docMk/>
            <pc:sldMk cId="3426313049" sldId="313"/>
            <ac:inkMk id="10" creationId="{D9C73F3A-7A4C-4D06-94A3-CBBC305F92C0}"/>
          </ac:inkMkLst>
        </pc:inkChg>
        <pc:inkChg chg="add">
          <ac:chgData name="Yudi Wang" userId="S::yudi.wang@fs-students.de::d6d3e1ff-7fbc-44f4-bef1-29aa738b3b63" providerId="AD" clId="Web-{CE6E67F1-420F-47F2-95FB-2DDA92EF5BDD}" dt="2021-10-19T11:16:38.690" v="397"/>
          <ac:inkMkLst>
            <pc:docMk/>
            <pc:sldMk cId="3426313049" sldId="313"/>
            <ac:inkMk id="11" creationId="{88520504-9B2E-4724-BC85-8F7068FE7912}"/>
          </ac:inkMkLst>
        </pc:inkChg>
        <pc:inkChg chg="add">
          <ac:chgData name="Yudi Wang" userId="S::yudi.wang@fs-students.de::d6d3e1ff-7fbc-44f4-bef1-29aa738b3b63" providerId="AD" clId="Web-{CE6E67F1-420F-47F2-95FB-2DDA92EF5BDD}" dt="2021-10-19T11:16:39.378" v="398"/>
          <ac:inkMkLst>
            <pc:docMk/>
            <pc:sldMk cId="3426313049" sldId="313"/>
            <ac:inkMk id="12" creationId="{DA453E7C-C0C3-44B3-85E4-70748B7B0A3E}"/>
          </ac:inkMkLst>
        </pc:inkChg>
        <pc:inkChg chg="add">
          <ac:chgData name="Yudi Wang" userId="S::yudi.wang@fs-students.de::d6d3e1ff-7fbc-44f4-bef1-29aa738b3b63" providerId="AD" clId="Web-{CE6E67F1-420F-47F2-95FB-2DDA92EF5BDD}" dt="2021-10-19T11:16:45.518" v="399"/>
          <ac:inkMkLst>
            <pc:docMk/>
            <pc:sldMk cId="3426313049" sldId="313"/>
            <ac:inkMk id="13" creationId="{A3319A48-41FE-4282-B82C-4959A6EB9CED}"/>
          </ac:inkMkLst>
        </pc:inkChg>
        <pc:inkChg chg="add">
          <ac:chgData name="Yudi Wang" userId="S::yudi.wang@fs-students.de::d6d3e1ff-7fbc-44f4-bef1-29aa738b3b63" providerId="AD" clId="Web-{CE6E67F1-420F-47F2-95FB-2DDA92EF5BDD}" dt="2021-10-19T11:16:46.643" v="400"/>
          <ac:inkMkLst>
            <pc:docMk/>
            <pc:sldMk cId="3426313049" sldId="313"/>
            <ac:inkMk id="14" creationId="{1817F00F-7F25-4C26-BCD4-289C1A8CB04F}"/>
          </ac:inkMkLst>
        </pc:inkChg>
        <pc:inkChg chg="add">
          <ac:chgData name="Yudi Wang" userId="S::yudi.wang@fs-students.de::d6d3e1ff-7fbc-44f4-bef1-29aa738b3b63" providerId="AD" clId="Web-{CE6E67F1-420F-47F2-95FB-2DDA92EF5BDD}" dt="2021-10-19T11:16:52.612" v="402"/>
          <ac:inkMkLst>
            <pc:docMk/>
            <pc:sldMk cId="3426313049" sldId="313"/>
            <ac:inkMk id="15" creationId="{1CBC7342-3292-42C3-9DA5-FD379A3516B2}"/>
          </ac:inkMkLst>
        </pc:inkChg>
        <pc:inkChg chg="add">
          <ac:chgData name="Yudi Wang" userId="S::yudi.wang@fs-students.de::d6d3e1ff-7fbc-44f4-bef1-29aa738b3b63" providerId="AD" clId="Web-{CE6E67F1-420F-47F2-95FB-2DDA92EF5BDD}" dt="2021-10-19T11:16:54.144" v="403"/>
          <ac:inkMkLst>
            <pc:docMk/>
            <pc:sldMk cId="3426313049" sldId="313"/>
            <ac:inkMk id="16" creationId="{557450A4-D23B-4359-AA81-FD6E262B979F}"/>
          </ac:inkMkLst>
        </pc:inkChg>
        <pc:inkChg chg="add">
          <ac:chgData name="Yudi Wang" userId="S::yudi.wang@fs-students.de::d6d3e1ff-7fbc-44f4-bef1-29aa738b3b63" providerId="AD" clId="Web-{CE6E67F1-420F-47F2-95FB-2DDA92EF5BDD}" dt="2021-10-19T11:16:56.972" v="404"/>
          <ac:inkMkLst>
            <pc:docMk/>
            <pc:sldMk cId="3426313049" sldId="313"/>
            <ac:inkMk id="17" creationId="{175CBFDA-C76A-49EB-BE1D-80A5BEEA015C}"/>
          </ac:inkMkLst>
        </pc:inkChg>
        <pc:inkChg chg="add">
          <ac:chgData name="Yudi Wang" userId="S::yudi.wang@fs-students.de::d6d3e1ff-7fbc-44f4-bef1-29aa738b3b63" providerId="AD" clId="Web-{CE6E67F1-420F-47F2-95FB-2DDA92EF5BDD}" dt="2021-10-19T11:16:58.628" v="405"/>
          <ac:inkMkLst>
            <pc:docMk/>
            <pc:sldMk cId="3426313049" sldId="313"/>
            <ac:inkMk id="18" creationId="{14774DC9-B781-4544-AC4D-A7C689940E63}"/>
          </ac:inkMkLst>
        </pc:inkChg>
        <pc:inkChg chg="add">
          <ac:chgData name="Yudi Wang" userId="S::yudi.wang@fs-students.de::d6d3e1ff-7fbc-44f4-bef1-29aa738b3b63" providerId="AD" clId="Web-{CE6E67F1-420F-47F2-95FB-2DDA92EF5BDD}" dt="2021-10-19T11:17:00.347" v="406"/>
          <ac:inkMkLst>
            <pc:docMk/>
            <pc:sldMk cId="3426313049" sldId="313"/>
            <ac:inkMk id="19" creationId="{1CF9E306-2B12-49E5-827A-6D59F9E0F3F3}"/>
          </ac:inkMkLst>
        </pc:inkChg>
        <pc:inkChg chg="add">
          <ac:chgData name="Yudi Wang" userId="S::yudi.wang@fs-students.de::d6d3e1ff-7fbc-44f4-bef1-29aa738b3b63" providerId="AD" clId="Web-{CE6E67F1-420F-47F2-95FB-2DDA92EF5BDD}" dt="2021-10-19T11:17:00.347" v="407"/>
          <ac:inkMkLst>
            <pc:docMk/>
            <pc:sldMk cId="3426313049" sldId="313"/>
            <ac:inkMk id="20" creationId="{2EAF0499-EE1F-41FF-B825-459F87A8EC97}"/>
          </ac:inkMkLst>
        </pc:inkChg>
        <pc:inkChg chg="add">
          <ac:chgData name="Yudi Wang" userId="S::yudi.wang@fs-students.de::d6d3e1ff-7fbc-44f4-bef1-29aa738b3b63" providerId="AD" clId="Web-{CE6E67F1-420F-47F2-95FB-2DDA92EF5BDD}" dt="2021-10-19T11:17:00.362" v="408"/>
          <ac:inkMkLst>
            <pc:docMk/>
            <pc:sldMk cId="3426313049" sldId="313"/>
            <ac:inkMk id="21" creationId="{A8934AB4-1FE2-4B14-909A-4A098E1D03FD}"/>
          </ac:inkMkLst>
        </pc:inkChg>
      </pc:sldChg>
      <pc:sldChg chg="addSp modSp">
        <pc:chgData name="Yudi Wang" userId="S::yudi.wang@fs-students.de::d6d3e1ff-7fbc-44f4-bef1-29aa738b3b63" providerId="AD" clId="Web-{CE6E67F1-420F-47F2-95FB-2DDA92EF5BDD}" dt="2021-10-19T11:11:35.276" v="332" actId="20577"/>
        <pc:sldMkLst>
          <pc:docMk/>
          <pc:sldMk cId="2469131820" sldId="314"/>
        </pc:sldMkLst>
        <pc:spChg chg="mod">
          <ac:chgData name="Yudi Wang" userId="S::yudi.wang@fs-students.de::d6d3e1ff-7fbc-44f4-bef1-29aa738b3b63" providerId="AD" clId="Web-{CE6E67F1-420F-47F2-95FB-2DDA92EF5BDD}" dt="2021-10-19T11:11:35.276" v="332" actId="20577"/>
          <ac:spMkLst>
            <pc:docMk/>
            <pc:sldMk cId="2469131820" sldId="314"/>
            <ac:spMk id="6" creationId="{B0698DA7-CCBF-4F25-80A2-209C24DE3F1F}"/>
          </ac:spMkLst>
        </pc:spChg>
        <pc:picChg chg="add mod">
          <ac:chgData name="Yudi Wang" userId="S::yudi.wang@fs-students.de::d6d3e1ff-7fbc-44f4-bef1-29aa738b3b63" providerId="AD" clId="Web-{CE6E67F1-420F-47F2-95FB-2DDA92EF5BDD}" dt="2021-10-19T11:11:26.744" v="328" actId="1076"/>
          <ac:picMkLst>
            <pc:docMk/>
            <pc:sldMk cId="2469131820" sldId="314"/>
            <ac:picMk id="2" creationId="{DBE95054-5A5C-48E9-8E60-3B5EFA744AC8}"/>
          </ac:picMkLst>
        </pc:picChg>
      </pc:sldChg>
      <pc:sldChg chg="addSp modSp modNotes">
        <pc:chgData name="Yudi Wang" userId="S::yudi.wang@fs-students.de::d6d3e1ff-7fbc-44f4-bef1-29aa738b3b63" providerId="AD" clId="Web-{CE6E67F1-420F-47F2-95FB-2DDA92EF5BDD}" dt="2021-10-19T11:17:01.847" v="409"/>
        <pc:sldMkLst>
          <pc:docMk/>
          <pc:sldMk cId="144855330" sldId="318"/>
        </pc:sldMkLst>
        <pc:spChg chg="mod">
          <ac:chgData name="Yudi Wang" userId="S::yudi.wang@fs-students.de::d6d3e1ff-7fbc-44f4-bef1-29aa738b3b63" providerId="AD" clId="Web-{CE6E67F1-420F-47F2-95FB-2DDA92EF5BDD}" dt="2021-10-19T11:11:47.807" v="337" actId="20577"/>
          <ac:spMkLst>
            <pc:docMk/>
            <pc:sldMk cId="144855330" sldId="318"/>
            <ac:spMk id="6" creationId="{B0698DA7-CCBF-4F25-80A2-209C24DE3F1F}"/>
          </ac:spMkLst>
        </pc:spChg>
        <pc:picChg chg="add mod">
          <ac:chgData name="Yudi Wang" userId="S::yudi.wang@fs-students.de::d6d3e1ff-7fbc-44f4-bef1-29aa738b3b63" providerId="AD" clId="Web-{CE6E67F1-420F-47F2-95FB-2DDA92EF5BDD}" dt="2021-10-19T11:06:56.830" v="280" actId="1076"/>
          <ac:picMkLst>
            <pc:docMk/>
            <pc:sldMk cId="144855330" sldId="318"/>
            <ac:picMk id="2" creationId="{31079D47-E2E7-49C9-A19F-83B80AE784AA}"/>
          </ac:picMkLst>
        </pc:picChg>
        <pc:inkChg chg="add">
          <ac:chgData name="Yudi Wang" userId="S::yudi.wang@fs-students.de::d6d3e1ff-7fbc-44f4-bef1-29aa738b3b63" providerId="AD" clId="Web-{CE6E67F1-420F-47F2-95FB-2DDA92EF5BDD}" dt="2021-10-19T11:16:47.956" v="401"/>
          <ac:inkMkLst>
            <pc:docMk/>
            <pc:sldMk cId="144855330" sldId="318"/>
            <ac:inkMk id="3" creationId="{EF1861C0-0980-476B-A8E0-8D7E4B665A10}"/>
          </ac:inkMkLst>
        </pc:inkChg>
        <pc:inkChg chg="add">
          <ac:chgData name="Yudi Wang" userId="S::yudi.wang@fs-students.de::d6d3e1ff-7fbc-44f4-bef1-29aa738b3b63" providerId="AD" clId="Web-{CE6E67F1-420F-47F2-95FB-2DDA92EF5BDD}" dt="2021-10-19T11:17:01.847" v="409"/>
          <ac:inkMkLst>
            <pc:docMk/>
            <pc:sldMk cId="144855330" sldId="318"/>
            <ac:inkMk id="4" creationId="{601635B7-2852-4EC1-8211-2E08361B2D38}"/>
          </ac:inkMkLst>
        </pc:inkChg>
      </pc:sldChg>
      <pc:sldChg chg="modSp">
        <pc:chgData name="Yudi Wang" userId="S::yudi.wang@fs-students.de::d6d3e1ff-7fbc-44f4-bef1-29aa738b3b63" providerId="AD" clId="Web-{CE6E67F1-420F-47F2-95FB-2DDA92EF5BDD}" dt="2021-10-19T11:12:45.918" v="372" actId="20577"/>
        <pc:sldMkLst>
          <pc:docMk/>
          <pc:sldMk cId="265307825" sldId="322"/>
        </pc:sldMkLst>
        <pc:spChg chg="mod">
          <ac:chgData name="Yudi Wang" userId="S::yudi.wang@fs-students.de::d6d3e1ff-7fbc-44f4-bef1-29aa738b3b63" providerId="AD" clId="Web-{CE6E67F1-420F-47F2-95FB-2DDA92EF5BDD}" dt="2021-10-19T11:12:45.918" v="372" actId="20577"/>
          <ac:spMkLst>
            <pc:docMk/>
            <pc:sldMk cId="265307825" sldId="322"/>
            <ac:spMk id="24" creationId="{66172E90-EC84-452C-9932-4D3A8B6D5C1E}"/>
          </ac:spMkLst>
        </pc:spChg>
      </pc:sldChg>
    </pc:docChg>
  </pc:docChgLst>
  <pc:docChgLst>
    <pc:chgData name="Xuxin Tan" userId="S::xuxin.tan@fs-students.de::20e48cba-d982-468b-be47-641cf873d401" providerId="AD" clId="Web-{589B14C6-BDE4-F1E7-4AA8-40C7A293087E}"/>
    <pc:docChg chg="modSld">
      <pc:chgData name="Xuxin Tan" userId="S::xuxin.tan@fs-students.de::20e48cba-d982-468b-be47-641cf873d401" providerId="AD" clId="Web-{589B14C6-BDE4-F1E7-4AA8-40C7A293087E}" dt="2021-10-21T20:41:51.942" v="7" actId="1076"/>
      <pc:docMkLst>
        <pc:docMk/>
      </pc:docMkLst>
      <pc:sldChg chg="modSp">
        <pc:chgData name="Xuxin Tan" userId="S::xuxin.tan@fs-students.de::20e48cba-d982-468b-be47-641cf873d401" providerId="AD" clId="Web-{589B14C6-BDE4-F1E7-4AA8-40C7A293087E}" dt="2021-10-21T20:41:49.379" v="6" actId="14100"/>
        <pc:sldMkLst>
          <pc:docMk/>
          <pc:sldMk cId="217499512" sldId="344"/>
        </pc:sldMkLst>
        <pc:spChg chg="mod">
          <ac:chgData name="Xuxin Tan" userId="S::xuxin.tan@fs-students.de::20e48cba-d982-468b-be47-641cf873d401" providerId="AD" clId="Web-{589B14C6-BDE4-F1E7-4AA8-40C7A293087E}" dt="2021-10-21T20:41:49.379" v="6" actId="14100"/>
          <ac:spMkLst>
            <pc:docMk/>
            <pc:sldMk cId="217499512" sldId="344"/>
            <ac:spMk id="48" creationId="{04E374C7-CD5C-49D4-8C42-5635D88BDFCB}"/>
          </ac:spMkLst>
        </pc:spChg>
        <pc:spChg chg="mod">
          <ac:chgData name="Xuxin Tan" userId="S::xuxin.tan@fs-students.de::20e48cba-d982-468b-be47-641cf873d401" providerId="AD" clId="Web-{589B14C6-BDE4-F1E7-4AA8-40C7A293087E}" dt="2021-10-21T20:41:48.723" v="5" actId="14100"/>
          <ac:spMkLst>
            <pc:docMk/>
            <pc:sldMk cId="217499512" sldId="344"/>
            <ac:spMk id="50" creationId="{7B5B4D70-CE12-494F-9727-9AE2E7ADF09E}"/>
          </ac:spMkLst>
        </pc:spChg>
      </pc:sldChg>
      <pc:sldChg chg="modSp">
        <pc:chgData name="Xuxin Tan" userId="S::xuxin.tan@fs-students.de::20e48cba-d982-468b-be47-641cf873d401" providerId="AD" clId="Web-{589B14C6-BDE4-F1E7-4AA8-40C7A293087E}" dt="2021-10-21T20:41:51.942" v="7" actId="1076"/>
        <pc:sldMkLst>
          <pc:docMk/>
          <pc:sldMk cId="3327520835" sldId="348"/>
        </pc:sldMkLst>
        <pc:picChg chg="mod">
          <ac:chgData name="Xuxin Tan" userId="S::xuxin.tan@fs-students.de::20e48cba-d982-468b-be47-641cf873d401" providerId="AD" clId="Web-{589B14C6-BDE4-F1E7-4AA8-40C7A293087E}" dt="2021-10-21T20:41:51.942" v="7" actId="1076"/>
          <ac:picMkLst>
            <pc:docMk/>
            <pc:sldMk cId="3327520835" sldId="348"/>
            <ac:picMk id="17" creationId="{6B97EBE3-2EC1-7945-8EF3-3FB46A28C300}"/>
          </ac:picMkLst>
        </pc:picChg>
      </pc:sldChg>
    </pc:docChg>
  </pc:docChgLst>
  <pc:docChgLst>
    <pc:chgData name="XingYifan" userId="S::yifan.xing@fs-students.de::ec0b773b-020c-4ca1-9a1f-a4f9c5eab3ae" providerId="AD" clId="Web-{EE20DB7D-244D-D751-2892-762D893843AE}"/>
    <pc:docChg chg="modSld">
      <pc:chgData name="XingYifan" userId="S::yifan.xing@fs-students.de::ec0b773b-020c-4ca1-9a1f-a4f9c5eab3ae" providerId="AD" clId="Web-{EE20DB7D-244D-D751-2892-762D893843AE}" dt="2021-10-19T12:44:18.339" v="2" actId="20577"/>
      <pc:docMkLst>
        <pc:docMk/>
      </pc:docMkLst>
      <pc:sldChg chg="modSp">
        <pc:chgData name="XingYifan" userId="S::yifan.xing@fs-students.de::ec0b773b-020c-4ca1-9a1f-a4f9c5eab3ae" providerId="AD" clId="Web-{EE20DB7D-244D-D751-2892-762D893843AE}" dt="2021-10-19T12:44:18.339" v="2" actId="20577"/>
        <pc:sldMkLst>
          <pc:docMk/>
          <pc:sldMk cId="2162620498" sldId="327"/>
        </pc:sldMkLst>
        <pc:spChg chg="mod">
          <ac:chgData name="XingYifan" userId="S::yifan.xing@fs-students.de::ec0b773b-020c-4ca1-9a1f-a4f9c5eab3ae" providerId="AD" clId="Web-{EE20DB7D-244D-D751-2892-762D893843AE}" dt="2021-10-19T12:44:18.339" v="2" actId="20577"/>
          <ac:spMkLst>
            <pc:docMk/>
            <pc:sldMk cId="2162620498" sldId="327"/>
            <ac:spMk id="4" creationId="{B24CEA83-3EDA-4925-92BF-C5C8D0A4BEA0}"/>
          </ac:spMkLst>
        </pc:spChg>
      </pc:sldChg>
    </pc:docChg>
  </pc:docChgLst>
  <pc:docChgLst>
    <pc:chgData name="Xuxin Tan" userId="20e48cba-d982-468b-be47-641cf873d401" providerId="ADAL" clId="{01EB5628-1019-4723-9671-5AE94D03704E}"/>
    <pc:docChg chg="modSld">
      <pc:chgData name="Xuxin Tan" userId="20e48cba-d982-468b-be47-641cf873d401" providerId="ADAL" clId="{01EB5628-1019-4723-9671-5AE94D03704E}" dt="2021-10-22T15:05:45.806" v="6" actId="1076"/>
      <pc:docMkLst>
        <pc:docMk/>
      </pc:docMkLst>
      <pc:sldChg chg="modSp mod">
        <pc:chgData name="Xuxin Tan" userId="20e48cba-d982-468b-be47-641cf873d401" providerId="ADAL" clId="{01EB5628-1019-4723-9671-5AE94D03704E}" dt="2021-10-22T15:05:45.806" v="6" actId="1076"/>
        <pc:sldMkLst>
          <pc:docMk/>
          <pc:sldMk cId="3426313049" sldId="313"/>
        </pc:sldMkLst>
        <pc:spChg chg="mod">
          <ac:chgData name="Xuxin Tan" userId="20e48cba-d982-468b-be47-641cf873d401" providerId="ADAL" clId="{01EB5628-1019-4723-9671-5AE94D03704E}" dt="2021-10-22T15:05:45.806" v="6" actId="1076"/>
          <ac:spMkLst>
            <pc:docMk/>
            <pc:sldMk cId="3426313049" sldId="313"/>
            <ac:spMk id="4" creationId="{B6BF43DD-77E7-4B58-8278-E897D0AF2C1F}"/>
          </ac:spMkLst>
        </pc:spChg>
      </pc:sldChg>
      <pc:sldChg chg="modSp mod">
        <pc:chgData name="Xuxin Tan" userId="20e48cba-d982-468b-be47-641cf873d401" providerId="ADAL" clId="{01EB5628-1019-4723-9671-5AE94D03704E}" dt="2021-10-19T18:13:42.842" v="4" actId="14100"/>
        <pc:sldMkLst>
          <pc:docMk/>
          <pc:sldMk cId="2162620498" sldId="327"/>
        </pc:sldMkLst>
        <pc:spChg chg="mod">
          <ac:chgData name="Xuxin Tan" userId="20e48cba-d982-468b-be47-641cf873d401" providerId="ADAL" clId="{01EB5628-1019-4723-9671-5AE94D03704E}" dt="2021-10-19T18:13:42.842" v="4" actId="14100"/>
          <ac:spMkLst>
            <pc:docMk/>
            <pc:sldMk cId="2162620498" sldId="327"/>
            <ac:spMk id="8" creationId="{B893367A-DE2A-4596-8943-1B4D9F17ADE5}"/>
          </ac:spMkLst>
        </pc:spChg>
      </pc:sldChg>
      <pc:sldChg chg="modSp mod">
        <pc:chgData name="Xuxin Tan" userId="20e48cba-d982-468b-be47-641cf873d401" providerId="ADAL" clId="{01EB5628-1019-4723-9671-5AE94D03704E}" dt="2021-10-19T18:12:17.200" v="3" actId="14100"/>
        <pc:sldMkLst>
          <pc:docMk/>
          <pc:sldMk cId="217499512" sldId="344"/>
        </pc:sldMkLst>
        <pc:spChg chg="mod">
          <ac:chgData name="Xuxin Tan" userId="20e48cba-d982-468b-be47-641cf873d401" providerId="ADAL" clId="{01EB5628-1019-4723-9671-5AE94D03704E}" dt="2021-10-19T18:12:17.200" v="3" actId="14100"/>
          <ac:spMkLst>
            <pc:docMk/>
            <pc:sldMk cId="217499512" sldId="344"/>
            <ac:spMk id="28" creationId="{229C84F1-4BA3-4AF6-B4EA-DB7C44306528}"/>
          </ac:spMkLst>
        </pc:spChg>
        <pc:spChg chg="mod">
          <ac:chgData name="Xuxin Tan" userId="20e48cba-d982-468b-be47-641cf873d401" providerId="ADAL" clId="{01EB5628-1019-4723-9671-5AE94D03704E}" dt="2021-10-19T18:12:10.149" v="2" actId="14100"/>
          <ac:spMkLst>
            <pc:docMk/>
            <pc:sldMk cId="217499512" sldId="344"/>
            <ac:spMk id="36" creationId="{BF29094A-BDA0-4DF6-A651-47A82CE43703}"/>
          </ac:spMkLst>
        </pc:spChg>
        <pc:spChg chg="mod">
          <ac:chgData name="Xuxin Tan" userId="20e48cba-d982-468b-be47-641cf873d401" providerId="ADAL" clId="{01EB5628-1019-4723-9671-5AE94D03704E}" dt="2021-10-19T18:11:59.619" v="0" actId="207"/>
          <ac:spMkLst>
            <pc:docMk/>
            <pc:sldMk cId="217499512" sldId="344"/>
            <ac:spMk id="40" creationId="{FE4B1EAE-DB25-44EC-AFB5-E2AC054AD1A4}"/>
          </ac:spMkLst>
        </pc:spChg>
      </pc:sldChg>
    </pc:docChg>
  </pc:docChgLst>
  <pc:docChgLst>
    <pc:chgData name="Yudi Wang" userId="d6d3e1ff-7fbc-44f4-bef1-29aa738b3b63" providerId="ADAL" clId="{89D7CA4C-4225-9640-8E67-3AC50C987A55}"/>
    <pc:docChg chg="undo custSel addSld delSld modSld sldOrd">
      <pc:chgData name="Yudi Wang" userId="d6d3e1ff-7fbc-44f4-bef1-29aa738b3b63" providerId="ADAL" clId="{89D7CA4C-4225-9640-8E67-3AC50C987A55}" dt="2021-10-22T02:38:50.197" v="3007" actId="20577"/>
      <pc:docMkLst>
        <pc:docMk/>
      </pc:docMkLst>
      <pc:sldChg chg="modSp mod modNotesTx">
        <pc:chgData name="Yudi Wang" userId="d6d3e1ff-7fbc-44f4-bef1-29aa738b3b63" providerId="ADAL" clId="{89D7CA4C-4225-9640-8E67-3AC50C987A55}" dt="2021-10-22T02:34:15.806" v="2980" actId="20577"/>
        <pc:sldMkLst>
          <pc:docMk/>
          <pc:sldMk cId="3035983278" sldId="260"/>
        </pc:sldMkLst>
        <pc:spChg chg="mod">
          <ac:chgData name="Yudi Wang" userId="d6d3e1ff-7fbc-44f4-bef1-29aa738b3b63" providerId="ADAL" clId="{89D7CA4C-4225-9640-8E67-3AC50C987A55}" dt="2021-10-21T15:12:01.722" v="2407" actId="790"/>
          <ac:spMkLst>
            <pc:docMk/>
            <pc:sldMk cId="3035983278" sldId="260"/>
            <ac:spMk id="17" creationId="{688CFC5C-41C5-424B-ABDE-E94206D4CCC3}"/>
          </ac:spMkLst>
        </pc:spChg>
      </pc:sldChg>
      <pc:sldChg chg="modSp mod">
        <pc:chgData name="Yudi Wang" userId="d6d3e1ff-7fbc-44f4-bef1-29aa738b3b63" providerId="ADAL" clId="{89D7CA4C-4225-9640-8E67-3AC50C987A55}" dt="2021-10-22T01:40:26.637" v="2748" actId="790"/>
        <pc:sldMkLst>
          <pc:docMk/>
          <pc:sldMk cId="942637165" sldId="311"/>
        </pc:sldMkLst>
        <pc:spChg chg="mod">
          <ac:chgData name="Yudi Wang" userId="d6d3e1ff-7fbc-44f4-bef1-29aa738b3b63" providerId="ADAL" clId="{89D7CA4C-4225-9640-8E67-3AC50C987A55}" dt="2021-10-21T14:47:45.466" v="2311" actId="20577"/>
          <ac:spMkLst>
            <pc:docMk/>
            <pc:sldMk cId="942637165" sldId="311"/>
            <ac:spMk id="5" creationId="{E6C5A9CF-5976-4A87-A1D6-BFF741EA3B3D}"/>
          </ac:spMkLst>
        </pc:spChg>
        <pc:spChg chg="mod">
          <ac:chgData name="Yudi Wang" userId="d6d3e1ff-7fbc-44f4-bef1-29aa738b3b63" providerId="ADAL" clId="{89D7CA4C-4225-9640-8E67-3AC50C987A55}" dt="2021-10-21T14:47:55.918" v="2324" actId="790"/>
          <ac:spMkLst>
            <pc:docMk/>
            <pc:sldMk cId="942637165" sldId="311"/>
            <ac:spMk id="12" creationId="{61A27681-F815-48B9-9A9A-5A841B6F593D}"/>
          </ac:spMkLst>
        </pc:spChg>
        <pc:spChg chg="mod">
          <ac:chgData name="Yudi Wang" userId="d6d3e1ff-7fbc-44f4-bef1-29aa738b3b63" providerId="ADAL" clId="{89D7CA4C-4225-9640-8E67-3AC50C987A55}" dt="2021-10-21T14:48:05.025" v="2325" actId="790"/>
          <ac:spMkLst>
            <pc:docMk/>
            <pc:sldMk cId="942637165" sldId="311"/>
            <ac:spMk id="13" creationId="{64AA3AAF-CF52-4C62-B10F-9B4FBF0E2EC1}"/>
          </ac:spMkLst>
        </pc:spChg>
        <pc:spChg chg="mod">
          <ac:chgData name="Yudi Wang" userId="d6d3e1ff-7fbc-44f4-bef1-29aa738b3b63" providerId="ADAL" clId="{89D7CA4C-4225-9640-8E67-3AC50C987A55}" dt="2021-10-22T01:40:26.637" v="2748" actId="790"/>
          <ac:spMkLst>
            <pc:docMk/>
            <pc:sldMk cId="942637165" sldId="311"/>
            <ac:spMk id="16" creationId="{7B630D99-5317-410F-9E2A-F544221C8E1A}"/>
          </ac:spMkLst>
        </pc:spChg>
      </pc:sldChg>
      <pc:sldChg chg="modSp mod">
        <pc:chgData name="Yudi Wang" userId="d6d3e1ff-7fbc-44f4-bef1-29aa738b3b63" providerId="ADAL" clId="{89D7CA4C-4225-9640-8E67-3AC50C987A55}" dt="2021-10-21T15:09:47.597" v="2406" actId="790"/>
        <pc:sldMkLst>
          <pc:docMk/>
          <pc:sldMk cId="2469131820" sldId="314"/>
        </pc:sldMkLst>
        <pc:spChg chg="mod">
          <ac:chgData name="Yudi Wang" userId="d6d3e1ff-7fbc-44f4-bef1-29aa738b3b63" providerId="ADAL" clId="{89D7CA4C-4225-9640-8E67-3AC50C987A55}" dt="2021-10-21T15:09:41.066" v="2405" actId="790"/>
          <ac:spMkLst>
            <pc:docMk/>
            <pc:sldMk cId="2469131820" sldId="314"/>
            <ac:spMk id="9" creationId="{FE53DFC1-E809-4964-8447-D19B74AB7A22}"/>
          </ac:spMkLst>
        </pc:spChg>
        <pc:spChg chg="mod">
          <ac:chgData name="Yudi Wang" userId="d6d3e1ff-7fbc-44f4-bef1-29aa738b3b63" providerId="ADAL" clId="{89D7CA4C-4225-9640-8E67-3AC50C987A55}" dt="2021-10-21T15:09:47.597" v="2406" actId="790"/>
          <ac:spMkLst>
            <pc:docMk/>
            <pc:sldMk cId="2469131820" sldId="314"/>
            <ac:spMk id="12" creationId="{50E4282D-0646-40E2-95A5-C91A80FED8A0}"/>
          </ac:spMkLst>
        </pc:spChg>
      </pc:sldChg>
      <pc:sldChg chg="modSp mod">
        <pc:chgData name="Yudi Wang" userId="d6d3e1ff-7fbc-44f4-bef1-29aa738b3b63" providerId="ADAL" clId="{89D7CA4C-4225-9640-8E67-3AC50C987A55}" dt="2021-10-22T02:17:18.278" v="2779" actId="33524"/>
        <pc:sldMkLst>
          <pc:docMk/>
          <pc:sldMk cId="1942348074" sldId="315"/>
        </pc:sldMkLst>
        <pc:spChg chg="mod">
          <ac:chgData name="Yudi Wang" userId="d6d3e1ff-7fbc-44f4-bef1-29aa738b3b63" providerId="ADAL" clId="{89D7CA4C-4225-9640-8E67-3AC50C987A55}" dt="2021-10-22T02:17:18.278" v="2779" actId="33524"/>
          <ac:spMkLst>
            <pc:docMk/>
            <pc:sldMk cId="1942348074" sldId="315"/>
            <ac:spMk id="6" creationId="{FC652EF3-B629-4486-B407-7AF42C33E08C}"/>
          </ac:spMkLst>
        </pc:spChg>
        <pc:spChg chg="mod">
          <ac:chgData name="Yudi Wang" userId="d6d3e1ff-7fbc-44f4-bef1-29aa738b3b63" providerId="ADAL" clId="{89D7CA4C-4225-9640-8E67-3AC50C987A55}" dt="2021-10-21T15:39:00.887" v="2601" actId="790"/>
          <ac:spMkLst>
            <pc:docMk/>
            <pc:sldMk cId="1942348074" sldId="315"/>
            <ac:spMk id="33" creationId="{FE040AD5-0D68-4621-AB86-12A9EDCCF60D}"/>
          </ac:spMkLst>
        </pc:spChg>
      </pc:sldChg>
      <pc:sldChg chg="modSp mod">
        <pc:chgData name="Yudi Wang" userId="d6d3e1ff-7fbc-44f4-bef1-29aa738b3b63" providerId="ADAL" clId="{89D7CA4C-4225-9640-8E67-3AC50C987A55}" dt="2021-10-22T02:18:49.627" v="2815" actId="20577"/>
        <pc:sldMkLst>
          <pc:docMk/>
          <pc:sldMk cId="2840091132" sldId="316"/>
        </pc:sldMkLst>
        <pc:spChg chg="mod">
          <ac:chgData name="Yudi Wang" userId="d6d3e1ff-7fbc-44f4-bef1-29aa738b3b63" providerId="ADAL" clId="{89D7CA4C-4225-9640-8E67-3AC50C987A55}" dt="2021-10-22T02:18:49.627" v="2815" actId="20577"/>
          <ac:spMkLst>
            <pc:docMk/>
            <pc:sldMk cId="2840091132" sldId="316"/>
            <ac:spMk id="6" creationId="{E27B92E4-B9B2-4FE2-822D-E15326354928}"/>
          </ac:spMkLst>
        </pc:spChg>
        <pc:spChg chg="mod">
          <ac:chgData name="Yudi Wang" userId="d6d3e1ff-7fbc-44f4-bef1-29aa738b3b63" providerId="ADAL" clId="{89D7CA4C-4225-9640-8E67-3AC50C987A55}" dt="2021-10-21T15:39:15.424" v="2602" actId="790"/>
          <ac:spMkLst>
            <pc:docMk/>
            <pc:sldMk cId="2840091132" sldId="316"/>
            <ac:spMk id="33" creationId="{FE040AD5-0D68-4621-AB86-12A9EDCCF60D}"/>
          </ac:spMkLst>
        </pc:spChg>
      </pc:sldChg>
      <pc:sldChg chg="modSp mod">
        <pc:chgData name="Yudi Wang" userId="d6d3e1ff-7fbc-44f4-bef1-29aa738b3b63" providerId="ADAL" clId="{89D7CA4C-4225-9640-8E67-3AC50C987A55}" dt="2021-10-22T02:25:37.414" v="2975" actId="207"/>
        <pc:sldMkLst>
          <pc:docMk/>
          <pc:sldMk cId="59782169" sldId="319"/>
        </pc:sldMkLst>
        <pc:spChg chg="mod">
          <ac:chgData name="Yudi Wang" userId="d6d3e1ff-7fbc-44f4-bef1-29aa738b3b63" providerId="ADAL" clId="{89D7CA4C-4225-9640-8E67-3AC50C987A55}" dt="2021-10-22T02:25:37.414" v="2975" actId="207"/>
          <ac:spMkLst>
            <pc:docMk/>
            <pc:sldMk cId="59782169" sldId="319"/>
            <ac:spMk id="27" creationId="{846961D8-61BB-4898-A874-42A487CE975C}"/>
          </ac:spMkLst>
        </pc:spChg>
      </pc:sldChg>
      <pc:sldChg chg="del">
        <pc:chgData name="Yudi Wang" userId="d6d3e1ff-7fbc-44f4-bef1-29aa738b3b63" providerId="ADAL" clId="{89D7CA4C-4225-9640-8E67-3AC50C987A55}" dt="2021-10-21T15:48:58.394" v="2747" actId="2696"/>
        <pc:sldMkLst>
          <pc:docMk/>
          <pc:sldMk cId="923699745" sldId="340"/>
        </pc:sldMkLst>
      </pc:sldChg>
      <pc:sldChg chg="del">
        <pc:chgData name="Yudi Wang" userId="d6d3e1ff-7fbc-44f4-bef1-29aa738b3b63" providerId="ADAL" clId="{89D7CA4C-4225-9640-8E67-3AC50C987A55}" dt="2021-10-21T15:48:52.839" v="2745" actId="2696"/>
        <pc:sldMkLst>
          <pc:docMk/>
          <pc:sldMk cId="1143917525" sldId="342"/>
        </pc:sldMkLst>
      </pc:sldChg>
      <pc:sldChg chg="delSp modSp mod">
        <pc:chgData name="Yudi Wang" userId="d6d3e1ff-7fbc-44f4-bef1-29aa738b3b63" providerId="ADAL" clId="{89D7CA4C-4225-9640-8E67-3AC50C987A55}" dt="2021-10-21T15:03:12.053" v="2403" actId="790"/>
        <pc:sldMkLst>
          <pc:docMk/>
          <pc:sldMk cId="217499512" sldId="344"/>
        </pc:sldMkLst>
        <pc:spChg chg="mod">
          <ac:chgData name="Yudi Wang" userId="d6d3e1ff-7fbc-44f4-bef1-29aa738b3b63" providerId="ADAL" clId="{89D7CA4C-4225-9640-8E67-3AC50C987A55}" dt="2021-10-21T15:03:00.965" v="2401" actId="20577"/>
          <ac:spMkLst>
            <pc:docMk/>
            <pc:sldMk cId="217499512" sldId="344"/>
            <ac:spMk id="23" creationId="{C5FBC8A1-9A83-413A-AE0C-5AC5EE4E2707}"/>
          </ac:spMkLst>
        </pc:spChg>
        <pc:spChg chg="del">
          <ac:chgData name="Yudi Wang" userId="d6d3e1ff-7fbc-44f4-bef1-29aa738b3b63" providerId="ADAL" clId="{89D7CA4C-4225-9640-8E67-3AC50C987A55}" dt="2021-10-21T14:45:34.326" v="2257" actId="478"/>
          <ac:spMkLst>
            <pc:docMk/>
            <pc:sldMk cId="217499512" sldId="344"/>
            <ac:spMk id="24" creationId="{207DF35D-A048-4302-AA1A-422C8DDB4E8A}"/>
          </ac:spMkLst>
        </pc:spChg>
        <pc:spChg chg="mod">
          <ac:chgData name="Yudi Wang" userId="d6d3e1ff-7fbc-44f4-bef1-29aa738b3b63" providerId="ADAL" clId="{89D7CA4C-4225-9640-8E67-3AC50C987A55}" dt="2021-10-21T15:02:47.393" v="2387" actId="20577"/>
          <ac:spMkLst>
            <pc:docMk/>
            <pc:sldMk cId="217499512" sldId="344"/>
            <ac:spMk id="26" creationId="{2771E074-21E7-463E-8A71-2B49605CF04F}"/>
          </ac:spMkLst>
        </pc:spChg>
        <pc:spChg chg="del">
          <ac:chgData name="Yudi Wang" userId="d6d3e1ff-7fbc-44f4-bef1-29aa738b3b63" providerId="ADAL" clId="{89D7CA4C-4225-9640-8E67-3AC50C987A55}" dt="2021-10-21T14:45:51.714" v="2263" actId="478"/>
          <ac:spMkLst>
            <pc:docMk/>
            <pc:sldMk cId="217499512" sldId="344"/>
            <ac:spMk id="27" creationId="{D8347513-A5B4-4702-A29B-02400BEED4FF}"/>
          </ac:spMkLst>
        </pc:spChg>
        <pc:spChg chg="mod">
          <ac:chgData name="Yudi Wang" userId="d6d3e1ff-7fbc-44f4-bef1-29aa738b3b63" providerId="ADAL" clId="{89D7CA4C-4225-9640-8E67-3AC50C987A55}" dt="2021-10-21T15:03:07.735" v="2402" actId="790"/>
          <ac:spMkLst>
            <pc:docMk/>
            <pc:sldMk cId="217499512" sldId="344"/>
            <ac:spMk id="34" creationId="{657BF9F5-9031-48D8-9838-145EBA323B47}"/>
          </ac:spMkLst>
        </pc:spChg>
        <pc:spChg chg="del mod">
          <ac:chgData name="Yudi Wang" userId="d6d3e1ff-7fbc-44f4-bef1-29aa738b3b63" providerId="ADAL" clId="{89D7CA4C-4225-9640-8E67-3AC50C987A55}" dt="2021-10-21T14:45:49.449" v="2262" actId="478"/>
          <ac:spMkLst>
            <pc:docMk/>
            <pc:sldMk cId="217499512" sldId="344"/>
            <ac:spMk id="35" creationId="{B8D8B68E-76F8-44F3-9285-5000B68FA1F9}"/>
          </ac:spMkLst>
        </pc:spChg>
        <pc:spChg chg="mod">
          <ac:chgData name="Yudi Wang" userId="d6d3e1ff-7fbc-44f4-bef1-29aa738b3b63" providerId="ADAL" clId="{89D7CA4C-4225-9640-8E67-3AC50C987A55}" dt="2021-10-21T14:46:36.991" v="2272" actId="1076"/>
          <ac:spMkLst>
            <pc:docMk/>
            <pc:sldMk cId="217499512" sldId="344"/>
            <ac:spMk id="36" creationId="{BF29094A-BDA0-4DF6-A651-47A82CE43703}"/>
          </ac:spMkLst>
        </pc:spChg>
        <pc:spChg chg="mod">
          <ac:chgData name="Yudi Wang" userId="d6d3e1ff-7fbc-44f4-bef1-29aa738b3b63" providerId="ADAL" clId="{89D7CA4C-4225-9640-8E67-3AC50C987A55}" dt="2021-10-21T15:03:12.053" v="2403" actId="790"/>
          <ac:spMkLst>
            <pc:docMk/>
            <pc:sldMk cId="217499512" sldId="344"/>
            <ac:spMk id="38" creationId="{BA3B6128-34DB-448D-9C3D-D7230AFC16B8}"/>
          </ac:spMkLst>
        </pc:spChg>
        <pc:spChg chg="del mod">
          <ac:chgData name="Yudi Wang" userId="d6d3e1ff-7fbc-44f4-bef1-29aa738b3b63" providerId="ADAL" clId="{89D7CA4C-4225-9640-8E67-3AC50C987A55}" dt="2021-10-21T14:45:44.835" v="2260" actId="478"/>
          <ac:spMkLst>
            <pc:docMk/>
            <pc:sldMk cId="217499512" sldId="344"/>
            <ac:spMk id="39" creationId="{30CBC354-CE7C-4F4E-A16C-C59DC1F09E91}"/>
          </ac:spMkLst>
        </pc:spChg>
        <pc:spChg chg="mod">
          <ac:chgData name="Yudi Wang" userId="d6d3e1ff-7fbc-44f4-bef1-29aa738b3b63" providerId="ADAL" clId="{89D7CA4C-4225-9640-8E67-3AC50C987A55}" dt="2021-10-21T05:18:41.749" v="1" actId="20577"/>
          <ac:spMkLst>
            <pc:docMk/>
            <pc:sldMk cId="217499512" sldId="344"/>
            <ac:spMk id="42" creationId="{9D5FC891-34FE-4EA0-9C31-D285D8AB442C}"/>
          </ac:spMkLst>
        </pc:spChg>
        <pc:spChg chg="mod">
          <ac:chgData name="Yudi Wang" userId="d6d3e1ff-7fbc-44f4-bef1-29aa738b3b63" providerId="ADAL" clId="{89D7CA4C-4225-9640-8E67-3AC50C987A55}" dt="2021-10-21T15:02:56.366" v="2396" actId="20577"/>
          <ac:spMkLst>
            <pc:docMk/>
            <pc:sldMk cId="217499512" sldId="344"/>
            <ac:spMk id="44" creationId="{41607CA0-E30C-4B96-927C-38E34396679E}"/>
          </ac:spMkLst>
        </pc:spChg>
        <pc:spChg chg="del">
          <ac:chgData name="Yudi Wang" userId="d6d3e1ff-7fbc-44f4-bef1-29aa738b3b63" providerId="ADAL" clId="{89D7CA4C-4225-9640-8E67-3AC50C987A55}" dt="2021-10-21T14:45:37.454" v="2258" actId="478"/>
          <ac:spMkLst>
            <pc:docMk/>
            <pc:sldMk cId="217499512" sldId="344"/>
            <ac:spMk id="45" creationId="{405E5574-1CEC-4B5C-A591-49CB1CC75951}"/>
          </ac:spMkLst>
        </pc:spChg>
        <pc:spChg chg="del">
          <ac:chgData name="Yudi Wang" userId="d6d3e1ff-7fbc-44f4-bef1-29aa738b3b63" providerId="ADAL" clId="{89D7CA4C-4225-9640-8E67-3AC50C987A55}" dt="2021-10-21T14:45:39.872" v="2259" actId="478"/>
          <ac:spMkLst>
            <pc:docMk/>
            <pc:sldMk cId="217499512" sldId="344"/>
            <ac:spMk id="49" creationId="{DDB71329-2213-44AB-8224-FC6F49247198}"/>
          </ac:spMkLst>
        </pc:spChg>
        <pc:grpChg chg="mod">
          <ac:chgData name="Yudi Wang" userId="d6d3e1ff-7fbc-44f4-bef1-29aa738b3b63" providerId="ADAL" clId="{89D7CA4C-4225-9640-8E67-3AC50C987A55}" dt="2021-10-21T15:01:56.751" v="2383" actId="1036"/>
          <ac:grpSpMkLst>
            <pc:docMk/>
            <pc:sldMk cId="217499512" sldId="344"/>
            <ac:grpSpMk id="17" creationId="{FDEBFA9C-382D-4451-953D-299183196481}"/>
          </ac:grpSpMkLst>
        </pc:grpChg>
        <pc:grpChg chg="mod">
          <ac:chgData name="Yudi Wang" userId="d6d3e1ff-7fbc-44f4-bef1-29aa738b3b63" providerId="ADAL" clId="{89D7CA4C-4225-9640-8E67-3AC50C987A55}" dt="2021-10-21T15:01:56.751" v="2383" actId="1036"/>
          <ac:grpSpMkLst>
            <pc:docMk/>
            <pc:sldMk cId="217499512" sldId="344"/>
            <ac:grpSpMk id="22" creationId="{84585F9B-7936-4D30-B193-C210AA369C8A}"/>
          </ac:grpSpMkLst>
        </pc:grpChg>
        <pc:grpChg chg="mod">
          <ac:chgData name="Yudi Wang" userId="d6d3e1ff-7fbc-44f4-bef1-29aa738b3b63" providerId="ADAL" clId="{89D7CA4C-4225-9640-8E67-3AC50C987A55}" dt="2021-10-21T15:01:56.751" v="2383" actId="1036"/>
          <ac:grpSpMkLst>
            <pc:docMk/>
            <pc:sldMk cId="217499512" sldId="344"/>
            <ac:grpSpMk id="33" creationId="{75607ECC-D92D-47D3-9196-3B490DE5A029}"/>
          </ac:grpSpMkLst>
        </pc:grpChg>
        <pc:grpChg chg="mod">
          <ac:chgData name="Yudi Wang" userId="d6d3e1ff-7fbc-44f4-bef1-29aa738b3b63" providerId="ADAL" clId="{89D7CA4C-4225-9640-8E67-3AC50C987A55}" dt="2021-10-21T15:01:56.751" v="2383" actId="1036"/>
          <ac:grpSpMkLst>
            <pc:docMk/>
            <pc:sldMk cId="217499512" sldId="344"/>
            <ac:grpSpMk id="37" creationId="{D9539805-E57C-48F6-92D4-549831A70B4E}"/>
          </ac:grpSpMkLst>
        </pc:grpChg>
        <pc:grpChg chg="mod">
          <ac:chgData name="Yudi Wang" userId="d6d3e1ff-7fbc-44f4-bef1-29aa738b3b63" providerId="ADAL" clId="{89D7CA4C-4225-9640-8E67-3AC50C987A55}" dt="2021-10-21T15:01:56.751" v="2383" actId="1036"/>
          <ac:grpSpMkLst>
            <pc:docMk/>
            <pc:sldMk cId="217499512" sldId="344"/>
            <ac:grpSpMk id="43" creationId="{F4747727-CD12-451F-A3FA-E5D76515F09D}"/>
          </ac:grpSpMkLst>
        </pc:grpChg>
        <pc:grpChg chg="mod">
          <ac:chgData name="Yudi Wang" userId="d6d3e1ff-7fbc-44f4-bef1-29aa738b3b63" providerId="ADAL" clId="{89D7CA4C-4225-9640-8E67-3AC50C987A55}" dt="2021-10-21T15:01:56.751" v="2383" actId="1036"/>
          <ac:grpSpMkLst>
            <pc:docMk/>
            <pc:sldMk cId="217499512" sldId="344"/>
            <ac:grpSpMk id="47" creationId="{27CFB0E0-0937-4735-8800-72B4CBFA4175}"/>
          </ac:grpSpMkLst>
        </pc:grpChg>
      </pc:sldChg>
      <pc:sldChg chg="modSp mod">
        <pc:chgData name="Yudi Wang" userId="d6d3e1ff-7fbc-44f4-bef1-29aa738b3b63" providerId="ADAL" clId="{89D7CA4C-4225-9640-8E67-3AC50C987A55}" dt="2021-10-22T01:43:48.198" v="2759" actId="20577"/>
        <pc:sldMkLst>
          <pc:docMk/>
          <pc:sldMk cId="3648886001" sldId="345"/>
        </pc:sldMkLst>
        <pc:spChg chg="mod">
          <ac:chgData name="Yudi Wang" userId="d6d3e1ff-7fbc-44f4-bef1-29aa738b3b63" providerId="ADAL" clId="{89D7CA4C-4225-9640-8E67-3AC50C987A55}" dt="2021-10-22T01:43:48.198" v="2759" actId="20577"/>
          <ac:spMkLst>
            <pc:docMk/>
            <pc:sldMk cId="3648886001" sldId="345"/>
            <ac:spMk id="13" creationId="{7400E012-90ED-48B6-9273-9B5D5F0B64C0}"/>
          </ac:spMkLst>
        </pc:spChg>
      </pc:sldChg>
      <pc:sldChg chg="del">
        <pc:chgData name="Yudi Wang" userId="d6d3e1ff-7fbc-44f4-bef1-29aa738b3b63" providerId="ADAL" clId="{89D7CA4C-4225-9640-8E67-3AC50C987A55}" dt="2021-10-21T15:48:51.179" v="2744" actId="2696"/>
        <pc:sldMkLst>
          <pc:docMk/>
          <pc:sldMk cId="33160058" sldId="346"/>
        </pc:sldMkLst>
      </pc:sldChg>
      <pc:sldChg chg="del">
        <pc:chgData name="Yudi Wang" userId="d6d3e1ff-7fbc-44f4-bef1-29aa738b3b63" providerId="ADAL" clId="{89D7CA4C-4225-9640-8E67-3AC50C987A55}" dt="2021-10-21T15:48:47.921" v="2743" actId="2696"/>
        <pc:sldMkLst>
          <pc:docMk/>
          <pc:sldMk cId="1239690929" sldId="347"/>
        </pc:sldMkLst>
      </pc:sldChg>
      <pc:sldChg chg="addSp delSp modSp add mod ord modNotesTx">
        <pc:chgData name="Yudi Wang" userId="d6d3e1ff-7fbc-44f4-bef1-29aa738b3b63" providerId="ADAL" clId="{89D7CA4C-4225-9640-8E67-3AC50C987A55}" dt="2021-10-22T02:38:50.197" v="3007" actId="20577"/>
        <pc:sldMkLst>
          <pc:docMk/>
          <pc:sldMk cId="3327520835" sldId="348"/>
        </pc:sldMkLst>
        <pc:spChg chg="del mod">
          <ac:chgData name="Yudi Wang" userId="d6d3e1ff-7fbc-44f4-bef1-29aa738b3b63" providerId="ADAL" clId="{89D7CA4C-4225-9640-8E67-3AC50C987A55}" dt="2021-10-21T05:23:56.855" v="53"/>
          <ac:spMkLst>
            <pc:docMk/>
            <pc:sldMk cId="3327520835" sldId="348"/>
            <ac:spMk id="5" creationId="{D815E410-522D-493E-A48B-10AE28E65947}"/>
          </ac:spMkLst>
        </pc:spChg>
        <pc:spChg chg="del mod">
          <ac:chgData name="Yudi Wang" userId="d6d3e1ff-7fbc-44f4-bef1-29aa738b3b63" providerId="ADAL" clId="{89D7CA4C-4225-9640-8E67-3AC50C987A55}" dt="2021-10-21T05:23:43.810" v="47"/>
          <ac:spMkLst>
            <pc:docMk/>
            <pc:sldMk cId="3327520835" sldId="348"/>
            <ac:spMk id="6" creationId="{3D015DEB-2B43-4767-8820-499CCF0DA55B}"/>
          </ac:spMkLst>
        </pc:spChg>
        <pc:spChg chg="del">
          <ac:chgData name="Yudi Wang" userId="d6d3e1ff-7fbc-44f4-bef1-29aa738b3b63" providerId="ADAL" clId="{89D7CA4C-4225-9640-8E67-3AC50C987A55}" dt="2021-10-21T05:24:01.872" v="55" actId="478"/>
          <ac:spMkLst>
            <pc:docMk/>
            <pc:sldMk cId="3327520835" sldId="348"/>
            <ac:spMk id="7" creationId="{AEBC9596-996C-46A3-99DE-1305E8892D2F}"/>
          </ac:spMkLst>
        </pc:spChg>
        <pc:spChg chg="del mod">
          <ac:chgData name="Yudi Wang" userId="d6d3e1ff-7fbc-44f4-bef1-29aa738b3b63" providerId="ADAL" clId="{89D7CA4C-4225-9640-8E67-3AC50C987A55}" dt="2021-10-21T05:24:05.495" v="56" actId="478"/>
          <ac:spMkLst>
            <pc:docMk/>
            <pc:sldMk cId="3327520835" sldId="348"/>
            <ac:spMk id="8" creationId="{E55BA98D-BCF7-4F36-97DE-355B931868F9}"/>
          </ac:spMkLst>
        </pc:spChg>
        <pc:spChg chg="del mod">
          <ac:chgData name="Yudi Wang" userId="d6d3e1ff-7fbc-44f4-bef1-29aa738b3b63" providerId="ADAL" clId="{89D7CA4C-4225-9640-8E67-3AC50C987A55}" dt="2021-10-21T05:23:25.295" v="40"/>
          <ac:spMkLst>
            <pc:docMk/>
            <pc:sldMk cId="3327520835" sldId="348"/>
            <ac:spMk id="9" creationId="{9584AD82-7CA9-46FE-8856-1850622B0005}"/>
          </ac:spMkLst>
        </pc:spChg>
        <pc:spChg chg="del mod">
          <ac:chgData name="Yudi Wang" userId="d6d3e1ff-7fbc-44f4-bef1-29aa738b3b63" providerId="ADAL" clId="{89D7CA4C-4225-9640-8E67-3AC50C987A55}" dt="2021-10-21T05:23:29.157" v="42" actId="478"/>
          <ac:spMkLst>
            <pc:docMk/>
            <pc:sldMk cId="3327520835" sldId="348"/>
            <ac:spMk id="10" creationId="{003CF433-F8CB-497E-B83B-4CA521E5C543}"/>
          </ac:spMkLst>
        </pc:spChg>
        <pc:spChg chg="mod">
          <ac:chgData name="Yudi Wang" userId="d6d3e1ff-7fbc-44f4-bef1-29aa738b3b63" providerId="ADAL" clId="{89D7CA4C-4225-9640-8E67-3AC50C987A55}" dt="2021-10-21T15:18:57.313" v="2439" actId="20577"/>
          <ac:spMkLst>
            <pc:docMk/>
            <pc:sldMk cId="3327520835" sldId="348"/>
            <ac:spMk id="13" creationId="{CD12F295-986B-49B3-B714-7B35CD80CF04}"/>
          </ac:spMkLst>
        </pc:spChg>
        <pc:spChg chg="mod">
          <ac:chgData name="Yudi Wang" userId="d6d3e1ff-7fbc-44f4-bef1-29aa738b3b63" providerId="ADAL" clId="{89D7CA4C-4225-9640-8E67-3AC50C987A55}" dt="2021-10-21T15:20:14.763" v="2461" actId="1076"/>
          <ac:spMkLst>
            <pc:docMk/>
            <pc:sldMk cId="3327520835" sldId="348"/>
            <ac:spMk id="14" creationId="{31744EF3-C828-48AA-BBF7-92432F99DAD3}"/>
          </ac:spMkLst>
        </pc:spChg>
        <pc:picChg chg="add del mod">
          <ac:chgData name="Yudi Wang" userId="d6d3e1ff-7fbc-44f4-bef1-29aa738b3b63" providerId="ADAL" clId="{89D7CA4C-4225-9640-8E67-3AC50C987A55}" dt="2021-10-21T14:35:30.509" v="2192" actId="21"/>
          <ac:picMkLst>
            <pc:docMk/>
            <pc:sldMk cId="3327520835" sldId="348"/>
            <ac:picMk id="3" creationId="{BA117ADF-E926-4E94-B21D-87B09E7C46EB}"/>
          </ac:picMkLst>
        </pc:picChg>
        <pc:picChg chg="add mod">
          <ac:chgData name="Yudi Wang" userId="d6d3e1ff-7fbc-44f4-bef1-29aa738b3b63" providerId="ADAL" clId="{89D7CA4C-4225-9640-8E67-3AC50C987A55}" dt="2021-10-22T02:38:01.544" v="3001" actId="1076"/>
          <ac:picMkLst>
            <pc:docMk/>
            <pc:sldMk cId="3327520835" sldId="348"/>
            <ac:picMk id="3" creationId="{E8D3844D-9792-7644-A3C0-1DDE7AB1B71C}"/>
          </ac:picMkLst>
        </pc:picChg>
        <pc:picChg chg="del">
          <ac:chgData name="Yudi Wang" userId="d6d3e1ff-7fbc-44f4-bef1-29aa738b3b63" providerId="ADAL" clId="{89D7CA4C-4225-9640-8E67-3AC50C987A55}" dt="2021-10-21T14:35:06.167" v="2183" actId="478"/>
          <ac:picMkLst>
            <pc:docMk/>
            <pc:sldMk cId="3327520835" sldId="348"/>
            <ac:picMk id="4" creationId="{517DAA61-96E8-4B86-9363-1501DABC4301}"/>
          </ac:picMkLst>
        </pc:picChg>
        <pc:picChg chg="mod">
          <ac:chgData name="Yudi Wang" userId="d6d3e1ff-7fbc-44f4-bef1-29aa738b3b63" providerId="ADAL" clId="{89D7CA4C-4225-9640-8E67-3AC50C987A55}" dt="2021-10-22T02:37:54.376" v="2999" actId="1076"/>
          <ac:picMkLst>
            <pc:docMk/>
            <pc:sldMk cId="3327520835" sldId="348"/>
            <ac:picMk id="6" creationId="{288C8067-04B6-4225-9857-A70647A75A08}"/>
          </ac:picMkLst>
        </pc:picChg>
        <pc:picChg chg="add del mod">
          <ac:chgData name="Yudi Wang" userId="d6d3e1ff-7fbc-44f4-bef1-29aa738b3b63" providerId="ADAL" clId="{89D7CA4C-4225-9640-8E67-3AC50C987A55}" dt="2021-10-22T02:38:08.868" v="3005"/>
          <ac:picMkLst>
            <pc:docMk/>
            <pc:sldMk cId="3327520835" sldId="348"/>
            <ac:picMk id="10" creationId="{628AEE46-0ED7-2740-B1A8-AD4CA6012EF9}"/>
          </ac:picMkLst>
        </pc:picChg>
        <pc:picChg chg="add del mod">
          <ac:chgData name="Yudi Wang" userId="d6d3e1ff-7fbc-44f4-bef1-29aa738b3b63" providerId="ADAL" clId="{89D7CA4C-4225-9640-8E67-3AC50C987A55}" dt="2021-10-22T02:38:03.909" v="3002" actId="21"/>
          <ac:picMkLst>
            <pc:docMk/>
            <pc:sldMk cId="3327520835" sldId="348"/>
            <ac:picMk id="17" creationId="{6B97EBE3-2EC1-7945-8EF3-3FB46A28C300}"/>
          </ac:picMkLst>
        </pc:picChg>
        <pc:picChg chg="del mod">
          <ac:chgData name="Yudi Wang" userId="d6d3e1ff-7fbc-44f4-bef1-29aa738b3b63" providerId="ADAL" clId="{89D7CA4C-4225-9640-8E67-3AC50C987A55}" dt="2021-10-21T08:39:04.443" v="2077" actId="478"/>
          <ac:picMkLst>
            <pc:docMk/>
            <pc:sldMk cId="3327520835" sldId="348"/>
            <ac:picMk id="27" creationId="{3612C608-DAAE-47DE-BABB-CAD49B64CA05}"/>
          </ac:picMkLst>
        </pc:picChg>
        <pc:picChg chg="add del mod">
          <ac:chgData name="Yudi Wang" userId="d6d3e1ff-7fbc-44f4-bef1-29aa738b3b63" providerId="ADAL" clId="{89D7CA4C-4225-9640-8E67-3AC50C987A55}" dt="2021-10-21T15:19:22.568" v="2446" actId="21"/>
          <ac:picMkLst>
            <pc:docMk/>
            <pc:sldMk cId="3327520835" sldId="348"/>
            <ac:picMk id="4098" creationId="{0DE9DF9A-39B4-DC49-91D2-B676DE3001E0}"/>
          </ac:picMkLst>
        </pc:picChg>
        <pc:cxnChg chg="add mod">
          <ac:chgData name="Yudi Wang" userId="d6d3e1ff-7fbc-44f4-bef1-29aa738b3b63" providerId="ADAL" clId="{89D7CA4C-4225-9640-8E67-3AC50C987A55}" dt="2021-10-21T15:20:20.119" v="2462" actId="1076"/>
          <ac:cxnSpMkLst>
            <pc:docMk/>
            <pc:sldMk cId="3327520835" sldId="348"/>
            <ac:cxnSpMk id="19" creationId="{B3622104-8248-8A49-BE15-0537C79B7E48}"/>
          </ac:cxnSpMkLst>
        </pc:cxnChg>
        <pc:cxnChg chg="del">
          <ac:chgData name="Yudi Wang" userId="d6d3e1ff-7fbc-44f4-bef1-29aa738b3b63" providerId="ADAL" clId="{89D7CA4C-4225-9640-8E67-3AC50C987A55}" dt="2021-10-21T05:22:27.212" v="31" actId="478"/>
          <ac:cxnSpMkLst>
            <pc:docMk/>
            <pc:sldMk cId="3327520835" sldId="348"/>
            <ac:cxnSpMk id="26" creationId="{9BD15C87-E2E8-4EB7-88BC-CE52C784C78C}"/>
          </ac:cxnSpMkLst>
        </pc:cxnChg>
        <pc:cxnChg chg="del">
          <ac:chgData name="Yudi Wang" userId="d6d3e1ff-7fbc-44f4-bef1-29aa738b3b63" providerId="ADAL" clId="{89D7CA4C-4225-9640-8E67-3AC50C987A55}" dt="2021-10-21T05:22:23.523" v="30" actId="478"/>
          <ac:cxnSpMkLst>
            <pc:docMk/>
            <pc:sldMk cId="3327520835" sldId="348"/>
            <ac:cxnSpMk id="28" creationId="{87CD1A63-A10A-4452-9114-69824E97D735}"/>
          </ac:cxnSpMkLst>
        </pc:cxnChg>
      </pc:sldChg>
      <pc:sldChg chg="addSp delSp modSp add mod ord">
        <pc:chgData name="Yudi Wang" userId="d6d3e1ff-7fbc-44f4-bef1-29aa738b3b63" providerId="ADAL" clId="{89D7CA4C-4225-9640-8E67-3AC50C987A55}" dt="2021-10-21T15:28:21.874" v="2484" actId="1076"/>
        <pc:sldMkLst>
          <pc:docMk/>
          <pc:sldMk cId="3053874242" sldId="349"/>
        </pc:sldMkLst>
        <pc:spChg chg="add del">
          <ac:chgData name="Yudi Wang" userId="d6d3e1ff-7fbc-44f4-bef1-29aa738b3b63" providerId="ADAL" clId="{89D7CA4C-4225-9640-8E67-3AC50C987A55}" dt="2021-10-21T08:17:18.477" v="1939" actId="11529"/>
          <ac:spMkLst>
            <pc:docMk/>
            <pc:sldMk cId="3053874242" sldId="349"/>
            <ac:spMk id="4" creationId="{C371F83E-7107-A443-98DB-8771F794B456}"/>
          </ac:spMkLst>
        </pc:spChg>
        <pc:spChg chg="add mod">
          <ac:chgData name="Yudi Wang" userId="d6d3e1ff-7fbc-44f4-bef1-29aa738b3b63" providerId="ADAL" clId="{89D7CA4C-4225-9640-8E67-3AC50C987A55}" dt="2021-10-21T15:28:21.874" v="2484" actId="1076"/>
          <ac:spMkLst>
            <pc:docMk/>
            <pc:sldMk cId="3053874242" sldId="349"/>
            <ac:spMk id="5" creationId="{2BDD4C1A-7C12-5649-AD24-7D77336C6326}"/>
          </ac:spMkLst>
        </pc:spChg>
        <pc:spChg chg="del">
          <ac:chgData name="Yudi Wang" userId="d6d3e1ff-7fbc-44f4-bef1-29aa738b3b63" providerId="ADAL" clId="{89D7CA4C-4225-9640-8E67-3AC50C987A55}" dt="2021-10-21T05:53:52.607" v="846" actId="478"/>
          <ac:spMkLst>
            <pc:docMk/>
            <pc:sldMk cId="3053874242" sldId="349"/>
            <ac:spMk id="5" creationId="{3A4D709A-28C8-4230-AE87-CB582FBD5E99}"/>
          </ac:spMkLst>
        </pc:spChg>
        <pc:spChg chg="add del mod">
          <ac:chgData name="Yudi Wang" userId="d6d3e1ff-7fbc-44f4-bef1-29aa738b3b63" providerId="ADAL" clId="{89D7CA4C-4225-9640-8E67-3AC50C987A55}" dt="2021-10-21T15:26:53.380" v="2472" actId="478"/>
          <ac:spMkLst>
            <pc:docMk/>
            <pc:sldMk cId="3053874242" sldId="349"/>
            <ac:spMk id="6" creationId="{81FC32F0-EDEF-864D-9467-9FDDBBD8AEB7}"/>
          </ac:spMkLst>
        </pc:spChg>
        <pc:spChg chg="mod">
          <ac:chgData name="Yudi Wang" userId="d6d3e1ff-7fbc-44f4-bef1-29aa738b3b63" providerId="ADAL" clId="{89D7CA4C-4225-9640-8E67-3AC50C987A55}" dt="2021-10-21T15:01:03.712" v="2367" actId="1076"/>
          <ac:spMkLst>
            <pc:docMk/>
            <pc:sldMk cId="3053874242" sldId="349"/>
            <ac:spMk id="10" creationId="{5232BF41-D303-4160-83BD-5BEC247C3907}"/>
          </ac:spMkLst>
        </pc:spChg>
        <pc:spChg chg="mod">
          <ac:chgData name="Yudi Wang" userId="d6d3e1ff-7fbc-44f4-bef1-29aa738b3b63" providerId="ADAL" clId="{89D7CA4C-4225-9640-8E67-3AC50C987A55}" dt="2021-10-21T15:01:00.205" v="2366" actId="1076"/>
          <ac:spMkLst>
            <pc:docMk/>
            <pc:sldMk cId="3053874242" sldId="349"/>
            <ac:spMk id="11" creationId="{AD2C1497-08DF-4F7F-B9BC-8C4E11BA34B3}"/>
          </ac:spMkLst>
        </pc:spChg>
        <pc:spChg chg="mod">
          <ac:chgData name="Yudi Wang" userId="d6d3e1ff-7fbc-44f4-bef1-29aa738b3b63" providerId="ADAL" clId="{89D7CA4C-4225-9640-8E67-3AC50C987A55}" dt="2021-10-21T05:53:14.288" v="838" actId="790"/>
          <ac:spMkLst>
            <pc:docMk/>
            <pc:sldMk cId="3053874242" sldId="349"/>
            <ac:spMk id="13" creationId="{CD12F295-986B-49B3-B714-7B35CD80CF04}"/>
          </ac:spMkLst>
        </pc:spChg>
        <pc:spChg chg="mod">
          <ac:chgData name="Yudi Wang" userId="d6d3e1ff-7fbc-44f4-bef1-29aa738b3b63" providerId="ADAL" clId="{89D7CA4C-4225-9640-8E67-3AC50C987A55}" dt="2021-10-21T15:23:09.411" v="2469" actId="113"/>
          <ac:spMkLst>
            <pc:docMk/>
            <pc:sldMk cId="3053874242" sldId="349"/>
            <ac:spMk id="16" creationId="{1887BA96-C4C8-4605-924D-7E5D0430C268}"/>
          </ac:spMkLst>
        </pc:spChg>
        <pc:picChg chg="del mod">
          <ac:chgData name="Yudi Wang" userId="d6d3e1ff-7fbc-44f4-bef1-29aa738b3b63" providerId="ADAL" clId="{89D7CA4C-4225-9640-8E67-3AC50C987A55}" dt="2021-10-21T08:19:11.650" v="1983" actId="478"/>
          <ac:picMkLst>
            <pc:docMk/>
            <pc:sldMk cId="3053874242" sldId="349"/>
            <ac:picMk id="3" creationId="{6CAB3EF7-4F86-4AC4-9CBB-95921472E5EF}"/>
          </ac:picMkLst>
        </pc:picChg>
        <pc:picChg chg="del">
          <ac:chgData name="Yudi Wang" userId="d6d3e1ff-7fbc-44f4-bef1-29aa738b3b63" providerId="ADAL" clId="{89D7CA4C-4225-9640-8E67-3AC50C987A55}" dt="2021-10-21T08:38:59.574" v="2076" actId="478"/>
          <ac:picMkLst>
            <pc:docMk/>
            <pc:sldMk cId="3053874242" sldId="349"/>
            <ac:picMk id="27" creationId="{3612C608-DAAE-47DE-BABB-CAD49B64CA05}"/>
          </ac:picMkLst>
        </pc:picChg>
        <pc:picChg chg="add mod">
          <ac:chgData name="Yudi Wang" userId="d6d3e1ff-7fbc-44f4-bef1-29aa738b3b63" providerId="ADAL" clId="{89D7CA4C-4225-9640-8E67-3AC50C987A55}" dt="2021-10-21T15:25:05.327" v="2470" actId="1076"/>
          <ac:picMkLst>
            <pc:docMk/>
            <pc:sldMk cId="3053874242" sldId="349"/>
            <ac:picMk id="3074" creationId="{E321EDA0-9021-0A43-8116-81CD09E3F169}"/>
          </ac:picMkLst>
        </pc:picChg>
        <pc:cxnChg chg="add del mod">
          <ac:chgData name="Yudi Wang" userId="d6d3e1ff-7fbc-44f4-bef1-29aa738b3b63" providerId="ADAL" clId="{89D7CA4C-4225-9640-8E67-3AC50C987A55}" dt="2021-10-21T15:27:50.831" v="2477" actId="478"/>
          <ac:cxnSpMkLst>
            <pc:docMk/>
            <pc:sldMk cId="3053874242" sldId="349"/>
            <ac:cxnSpMk id="4" creationId="{3A921BE6-439B-F049-97C4-86C5F46DA427}"/>
          </ac:cxnSpMkLst>
        </pc:cxnChg>
        <pc:cxnChg chg="add mod">
          <ac:chgData name="Yudi Wang" userId="d6d3e1ff-7fbc-44f4-bef1-29aa738b3b63" providerId="ADAL" clId="{89D7CA4C-4225-9640-8E67-3AC50C987A55}" dt="2021-10-21T15:00:52.660" v="2365" actId="167"/>
          <ac:cxnSpMkLst>
            <pc:docMk/>
            <pc:sldMk cId="3053874242" sldId="349"/>
            <ac:cxnSpMk id="17" creationId="{3AE15492-6FEF-B443-A737-81D8F040B148}"/>
          </ac:cxnSpMkLst>
        </pc:cxnChg>
        <pc:cxnChg chg="del">
          <ac:chgData name="Yudi Wang" userId="d6d3e1ff-7fbc-44f4-bef1-29aa738b3b63" providerId="ADAL" clId="{89D7CA4C-4225-9640-8E67-3AC50C987A55}" dt="2021-10-21T05:53:30.760" v="840" actId="478"/>
          <ac:cxnSpMkLst>
            <pc:docMk/>
            <pc:sldMk cId="3053874242" sldId="349"/>
            <ac:cxnSpMk id="26" creationId="{9BD15C87-E2E8-4EB7-88BC-CE52C784C78C}"/>
          </ac:cxnSpMkLst>
        </pc:cxnChg>
        <pc:cxnChg chg="del">
          <ac:chgData name="Yudi Wang" userId="d6d3e1ff-7fbc-44f4-bef1-29aa738b3b63" providerId="ADAL" clId="{89D7CA4C-4225-9640-8E67-3AC50C987A55}" dt="2021-10-21T05:53:32.626" v="841" actId="478"/>
          <ac:cxnSpMkLst>
            <pc:docMk/>
            <pc:sldMk cId="3053874242" sldId="349"/>
            <ac:cxnSpMk id="28" creationId="{87CD1A63-A10A-4452-9114-69824E97D735}"/>
          </ac:cxnSpMkLst>
        </pc:cxnChg>
      </pc:sldChg>
      <pc:sldChg chg="addSp delSp modSp add mod ord">
        <pc:chgData name="Yudi Wang" userId="d6d3e1ff-7fbc-44f4-bef1-29aa738b3b63" providerId="ADAL" clId="{89D7CA4C-4225-9640-8E67-3AC50C987A55}" dt="2021-10-21T15:31:55.704" v="2591" actId="20577"/>
        <pc:sldMkLst>
          <pc:docMk/>
          <pc:sldMk cId="1124011858" sldId="350"/>
        </pc:sldMkLst>
        <pc:spChg chg="del">
          <ac:chgData name="Yudi Wang" userId="d6d3e1ff-7fbc-44f4-bef1-29aa738b3b63" providerId="ADAL" clId="{89D7CA4C-4225-9640-8E67-3AC50C987A55}" dt="2021-10-21T06:16:51.868" v="1367" actId="478"/>
          <ac:spMkLst>
            <pc:docMk/>
            <pc:sldMk cId="1124011858" sldId="350"/>
            <ac:spMk id="6" creationId="{5AE7CAE0-DC44-43B7-9A64-B872E86A6BFF}"/>
          </ac:spMkLst>
        </pc:spChg>
        <pc:spChg chg="del">
          <ac:chgData name="Yudi Wang" userId="d6d3e1ff-7fbc-44f4-bef1-29aa738b3b63" providerId="ADAL" clId="{89D7CA4C-4225-9640-8E67-3AC50C987A55}" dt="2021-10-21T06:15:48.419" v="1352" actId="478"/>
          <ac:spMkLst>
            <pc:docMk/>
            <pc:sldMk cId="1124011858" sldId="350"/>
            <ac:spMk id="7" creationId="{88F19FD2-F2ED-4223-A3E2-D0AE564456F4}"/>
          </ac:spMkLst>
        </pc:spChg>
        <pc:spChg chg="mod">
          <ac:chgData name="Yudi Wang" userId="d6d3e1ff-7fbc-44f4-bef1-29aa738b3b63" providerId="ADAL" clId="{89D7CA4C-4225-9640-8E67-3AC50C987A55}" dt="2021-10-21T14:59:06.233" v="2346" actId="20577"/>
          <ac:spMkLst>
            <pc:docMk/>
            <pc:sldMk cId="1124011858" sldId="350"/>
            <ac:spMk id="11" creationId="{2D33E563-0E59-4EEF-9650-0DB8BDCE5A57}"/>
          </ac:spMkLst>
        </pc:spChg>
        <pc:spChg chg="mod">
          <ac:chgData name="Yudi Wang" userId="d6d3e1ff-7fbc-44f4-bef1-29aa738b3b63" providerId="ADAL" clId="{89D7CA4C-4225-9640-8E67-3AC50C987A55}" dt="2021-10-21T06:17:48.953" v="1379" actId="790"/>
          <ac:spMkLst>
            <pc:docMk/>
            <pc:sldMk cId="1124011858" sldId="350"/>
            <ac:spMk id="13" creationId="{CD12F295-986B-49B3-B714-7B35CD80CF04}"/>
          </ac:spMkLst>
        </pc:spChg>
        <pc:spChg chg="del mod">
          <ac:chgData name="Yudi Wang" userId="d6d3e1ff-7fbc-44f4-bef1-29aa738b3b63" providerId="ADAL" clId="{89D7CA4C-4225-9640-8E67-3AC50C987A55}" dt="2021-10-21T06:27:00.816" v="1588" actId="478"/>
          <ac:spMkLst>
            <pc:docMk/>
            <pc:sldMk cId="1124011858" sldId="350"/>
            <ac:spMk id="18" creationId="{0B311DF9-5F6C-4AB0-BC6F-848E19FF9907}"/>
          </ac:spMkLst>
        </pc:spChg>
        <pc:spChg chg="del mod">
          <ac:chgData name="Yudi Wang" userId="d6d3e1ff-7fbc-44f4-bef1-29aa738b3b63" providerId="ADAL" clId="{89D7CA4C-4225-9640-8E67-3AC50C987A55}" dt="2021-10-21T06:27:52.854" v="1602"/>
          <ac:spMkLst>
            <pc:docMk/>
            <pc:sldMk cId="1124011858" sldId="350"/>
            <ac:spMk id="19" creationId="{BA455746-F249-49E6-A8B2-F512A6A9E045}"/>
          </ac:spMkLst>
        </pc:spChg>
        <pc:spChg chg="del mod">
          <ac:chgData name="Yudi Wang" userId="d6d3e1ff-7fbc-44f4-bef1-29aa738b3b63" providerId="ADAL" clId="{89D7CA4C-4225-9640-8E67-3AC50C987A55}" dt="2021-10-21T06:40:46.118" v="1933" actId="478"/>
          <ac:spMkLst>
            <pc:docMk/>
            <pc:sldMk cId="1124011858" sldId="350"/>
            <ac:spMk id="20" creationId="{E147AA44-CD2B-404C-A5B1-91B1CA178545}"/>
          </ac:spMkLst>
        </pc:spChg>
        <pc:spChg chg="del mod">
          <ac:chgData name="Yudi Wang" userId="d6d3e1ff-7fbc-44f4-bef1-29aa738b3b63" providerId="ADAL" clId="{89D7CA4C-4225-9640-8E67-3AC50C987A55}" dt="2021-10-21T06:27:45.361" v="1599" actId="478"/>
          <ac:spMkLst>
            <pc:docMk/>
            <pc:sldMk cId="1124011858" sldId="350"/>
            <ac:spMk id="21" creationId="{1C1D6CBE-E5AA-4C17-BD59-5260C565DD41}"/>
          </ac:spMkLst>
        </pc:spChg>
        <pc:spChg chg="add del mod">
          <ac:chgData name="Yudi Wang" userId="d6d3e1ff-7fbc-44f4-bef1-29aa738b3b63" providerId="ADAL" clId="{89D7CA4C-4225-9640-8E67-3AC50C987A55}" dt="2021-10-21T08:49:54.454" v="2163"/>
          <ac:spMkLst>
            <pc:docMk/>
            <pc:sldMk cId="1124011858" sldId="350"/>
            <ac:spMk id="22" creationId="{FCBC4099-7E17-4B41-ADBB-D3D32D45E114}"/>
          </ac:spMkLst>
        </pc:spChg>
        <pc:spChg chg="add del mod">
          <ac:chgData name="Yudi Wang" userId="d6d3e1ff-7fbc-44f4-bef1-29aa738b3b63" providerId="ADAL" clId="{89D7CA4C-4225-9640-8E67-3AC50C987A55}" dt="2021-10-21T08:49:53.081" v="2161"/>
          <ac:spMkLst>
            <pc:docMk/>
            <pc:sldMk cId="1124011858" sldId="350"/>
            <ac:spMk id="23" creationId="{B7B81E56-71F4-6143-B8F0-854DE3CC7167}"/>
          </ac:spMkLst>
        </pc:spChg>
        <pc:spChg chg="add mod">
          <ac:chgData name="Yudi Wang" userId="d6d3e1ff-7fbc-44f4-bef1-29aa738b3b63" providerId="ADAL" clId="{89D7CA4C-4225-9640-8E67-3AC50C987A55}" dt="2021-10-21T15:31:55.704" v="2591" actId="20577"/>
          <ac:spMkLst>
            <pc:docMk/>
            <pc:sldMk cId="1124011858" sldId="350"/>
            <ac:spMk id="24" creationId="{47B8B6D6-C535-214E-81A2-32D34EA3E0E7}"/>
          </ac:spMkLst>
        </pc:spChg>
        <pc:picChg chg="del mod">
          <ac:chgData name="Yudi Wang" userId="d6d3e1ff-7fbc-44f4-bef1-29aa738b3b63" providerId="ADAL" clId="{89D7CA4C-4225-9640-8E67-3AC50C987A55}" dt="2021-10-21T06:16:20.288" v="1356" actId="21"/>
          <ac:picMkLst>
            <pc:docMk/>
            <pc:sldMk cId="1124011858" sldId="350"/>
            <ac:picMk id="3" creationId="{65B3EABE-95B7-4CF2-9EA9-69D5B0B2242A}"/>
          </ac:picMkLst>
        </pc:picChg>
        <pc:picChg chg="del">
          <ac:chgData name="Yudi Wang" userId="d6d3e1ff-7fbc-44f4-bef1-29aa738b3b63" providerId="ADAL" clId="{89D7CA4C-4225-9640-8E67-3AC50C987A55}" dt="2021-10-21T06:16:30.103" v="1360" actId="21"/>
          <ac:picMkLst>
            <pc:docMk/>
            <pc:sldMk cId="1124011858" sldId="350"/>
            <ac:picMk id="4" creationId="{9318B5CA-5C98-4469-B0F3-9E616B03F5EC}"/>
          </ac:picMkLst>
        </pc:picChg>
        <pc:picChg chg="del">
          <ac:chgData name="Yudi Wang" userId="d6d3e1ff-7fbc-44f4-bef1-29aa738b3b63" providerId="ADAL" clId="{89D7CA4C-4225-9640-8E67-3AC50C987A55}" dt="2021-10-21T06:16:25.318" v="1358" actId="21"/>
          <ac:picMkLst>
            <pc:docMk/>
            <pc:sldMk cId="1124011858" sldId="350"/>
            <ac:picMk id="5" creationId="{58722572-B2A4-4F77-A8AC-B38A6D0531D8}"/>
          </ac:picMkLst>
        </pc:picChg>
        <pc:picChg chg="add mod">
          <ac:chgData name="Yudi Wang" userId="d6d3e1ff-7fbc-44f4-bef1-29aa738b3b63" providerId="ADAL" clId="{89D7CA4C-4225-9640-8E67-3AC50C987A55}" dt="2021-10-21T15:31:15.130" v="2555" actId="1076"/>
          <ac:picMkLst>
            <pc:docMk/>
            <pc:sldMk cId="1124011858" sldId="350"/>
            <ac:picMk id="8" creationId="{86428217-AAD6-0E4F-BEF9-09FFF74E9168}"/>
          </ac:picMkLst>
        </pc:picChg>
        <pc:picChg chg="del">
          <ac:chgData name="Yudi Wang" userId="d6d3e1ff-7fbc-44f4-bef1-29aa738b3b63" providerId="ADAL" clId="{89D7CA4C-4225-9640-8E67-3AC50C987A55}" dt="2021-10-21T08:38:55.463" v="2075" actId="478"/>
          <ac:picMkLst>
            <pc:docMk/>
            <pc:sldMk cId="1124011858" sldId="350"/>
            <ac:picMk id="27" creationId="{3612C608-DAAE-47DE-BABB-CAD49B64CA05}"/>
          </ac:picMkLst>
        </pc:picChg>
        <pc:cxnChg chg="add mod">
          <ac:chgData name="Yudi Wang" userId="d6d3e1ff-7fbc-44f4-bef1-29aa738b3b63" providerId="ADAL" clId="{89D7CA4C-4225-9640-8E67-3AC50C987A55}" dt="2021-10-21T15:00:09.530" v="2360" actId="1076"/>
          <ac:cxnSpMkLst>
            <pc:docMk/>
            <pc:sldMk cId="1124011858" sldId="350"/>
            <ac:cxnSpMk id="25" creationId="{BE183910-A89A-784B-B177-94D04E417EAF}"/>
          </ac:cxnSpMkLst>
        </pc:cxnChg>
        <pc:cxnChg chg="del">
          <ac:chgData name="Yudi Wang" userId="d6d3e1ff-7fbc-44f4-bef1-29aa738b3b63" providerId="ADAL" clId="{89D7CA4C-4225-9640-8E67-3AC50C987A55}" dt="2021-10-21T06:16:36.102" v="1363" actId="478"/>
          <ac:cxnSpMkLst>
            <pc:docMk/>
            <pc:sldMk cId="1124011858" sldId="350"/>
            <ac:cxnSpMk id="26" creationId="{9BD15C87-E2E8-4EB7-88BC-CE52C784C78C}"/>
          </ac:cxnSpMkLst>
        </pc:cxnChg>
        <pc:cxnChg chg="del">
          <ac:chgData name="Yudi Wang" userId="d6d3e1ff-7fbc-44f4-bef1-29aa738b3b63" providerId="ADAL" clId="{89D7CA4C-4225-9640-8E67-3AC50C987A55}" dt="2021-10-21T06:16:40.325" v="1364" actId="478"/>
          <ac:cxnSpMkLst>
            <pc:docMk/>
            <pc:sldMk cId="1124011858" sldId="350"/>
            <ac:cxnSpMk id="28" creationId="{87CD1A63-A10A-4452-9114-69824E97D735}"/>
          </ac:cxnSpMkLst>
        </pc:cxnChg>
      </pc:sldChg>
      <pc:sldChg chg="addSp delSp modSp add mod ord">
        <pc:chgData name="Yudi Wang" userId="d6d3e1ff-7fbc-44f4-bef1-29aa738b3b63" providerId="ADAL" clId="{89D7CA4C-4225-9640-8E67-3AC50C987A55}" dt="2021-10-21T15:33:28.519" v="2594" actId="1076"/>
        <pc:sldMkLst>
          <pc:docMk/>
          <pc:sldMk cId="1286770285" sldId="351"/>
        </pc:sldMkLst>
        <pc:spChg chg="mod">
          <ac:chgData name="Yudi Wang" userId="d6d3e1ff-7fbc-44f4-bef1-29aa738b3b63" providerId="ADAL" clId="{89D7CA4C-4225-9640-8E67-3AC50C987A55}" dt="2021-10-21T15:02:08.635" v="2384" actId="20577"/>
          <ac:spMkLst>
            <pc:docMk/>
            <pc:sldMk cId="1286770285" sldId="351"/>
            <ac:spMk id="4" creationId="{BFB68138-DEC7-4816-81A8-6AC3055A38F0}"/>
          </ac:spMkLst>
        </pc:spChg>
        <pc:spChg chg="mod">
          <ac:chgData name="Yudi Wang" userId="d6d3e1ff-7fbc-44f4-bef1-29aa738b3b63" providerId="ADAL" clId="{89D7CA4C-4225-9640-8E67-3AC50C987A55}" dt="2021-10-21T06:33:48.147" v="1851" actId="790"/>
          <ac:spMkLst>
            <pc:docMk/>
            <pc:sldMk cId="1286770285" sldId="351"/>
            <ac:spMk id="18" creationId="{907AA1F2-AEBF-4BD5-8F43-2AB381303E80}"/>
          </ac:spMkLst>
        </pc:spChg>
        <pc:spChg chg="mod">
          <ac:chgData name="Yudi Wang" userId="d6d3e1ff-7fbc-44f4-bef1-29aa738b3b63" providerId="ADAL" clId="{89D7CA4C-4225-9640-8E67-3AC50C987A55}" dt="2021-10-21T15:33:28.519" v="2594" actId="1076"/>
          <ac:spMkLst>
            <pc:docMk/>
            <pc:sldMk cId="1286770285" sldId="351"/>
            <ac:spMk id="22" creationId="{C02D202C-1240-41EC-B833-24DF9CB3F7CF}"/>
          </ac:spMkLst>
        </pc:spChg>
        <pc:picChg chg="mod">
          <ac:chgData name="Yudi Wang" userId="d6d3e1ff-7fbc-44f4-bef1-29aa738b3b63" providerId="ADAL" clId="{89D7CA4C-4225-9640-8E67-3AC50C987A55}" dt="2021-10-21T06:33:35.368" v="1849" actId="1076"/>
          <ac:picMkLst>
            <pc:docMk/>
            <pc:sldMk cId="1286770285" sldId="351"/>
            <ac:picMk id="2" creationId="{C24390F1-92EA-4A94-B8B1-1B876C7D2E2C}"/>
          </ac:picMkLst>
        </pc:picChg>
        <pc:picChg chg="del">
          <ac:chgData name="Yudi Wang" userId="d6d3e1ff-7fbc-44f4-bef1-29aa738b3b63" providerId="ADAL" clId="{89D7CA4C-4225-9640-8E67-3AC50C987A55}" dt="2021-10-21T06:33:40.561" v="1850" actId="478"/>
          <ac:picMkLst>
            <pc:docMk/>
            <pc:sldMk cId="1286770285" sldId="351"/>
            <ac:picMk id="25" creationId="{5AC678EE-B413-42D8-AC56-22CDFFD51D5E}"/>
          </ac:picMkLst>
        </pc:picChg>
        <pc:picChg chg="add mod">
          <ac:chgData name="Yudi Wang" userId="d6d3e1ff-7fbc-44f4-bef1-29aa738b3b63" providerId="ADAL" clId="{89D7CA4C-4225-9640-8E67-3AC50C987A55}" dt="2021-10-21T06:29:32.716" v="1616" actId="1076"/>
          <ac:picMkLst>
            <pc:docMk/>
            <pc:sldMk cId="1286770285" sldId="351"/>
            <ac:picMk id="2050" creationId="{D6ECC88C-5149-334B-8EBB-F793835E9F2F}"/>
          </ac:picMkLst>
        </pc:picChg>
        <pc:cxnChg chg="del">
          <ac:chgData name="Yudi Wang" userId="d6d3e1ff-7fbc-44f4-bef1-29aa738b3b63" providerId="ADAL" clId="{89D7CA4C-4225-9640-8E67-3AC50C987A55}" dt="2021-10-21T06:06:22.957" v="1203" actId="478"/>
          <ac:cxnSpMkLst>
            <pc:docMk/>
            <pc:sldMk cId="1286770285" sldId="351"/>
            <ac:cxnSpMk id="23" creationId="{814AC546-7B83-4C93-9244-F871604CAD10}"/>
          </ac:cxnSpMkLst>
        </pc:cxnChg>
        <pc:cxnChg chg="del mod">
          <ac:chgData name="Yudi Wang" userId="d6d3e1ff-7fbc-44f4-bef1-29aa738b3b63" providerId="ADAL" clId="{89D7CA4C-4225-9640-8E67-3AC50C987A55}" dt="2021-10-21T14:59:53.968" v="2357" actId="21"/>
          <ac:cxnSpMkLst>
            <pc:docMk/>
            <pc:sldMk cId="1286770285" sldId="351"/>
            <ac:cxnSpMk id="24" creationId="{B036D71E-BD13-45B7-A312-F825ABA7E66F}"/>
          </ac:cxnSpMkLst>
        </pc:cxnChg>
      </pc:sldChg>
      <pc:sldChg chg="addSp delSp modSp new del mod ord">
        <pc:chgData name="Yudi Wang" userId="d6d3e1ff-7fbc-44f4-bef1-29aa738b3b63" providerId="ADAL" clId="{89D7CA4C-4225-9640-8E67-3AC50C987A55}" dt="2021-10-21T14:51:41.003" v="2332" actId="2696"/>
        <pc:sldMkLst>
          <pc:docMk/>
          <pc:sldMk cId="2970492071" sldId="352"/>
        </pc:sldMkLst>
        <pc:spChg chg="add del mod">
          <ac:chgData name="Yudi Wang" userId="d6d3e1ff-7fbc-44f4-bef1-29aa738b3b63" providerId="ADAL" clId="{89D7CA4C-4225-9640-8E67-3AC50C987A55}" dt="2021-10-21T05:52:29.222" v="826"/>
          <ac:spMkLst>
            <pc:docMk/>
            <pc:sldMk cId="2970492071" sldId="352"/>
            <ac:spMk id="4" creationId="{DFACACD1-D3FC-F544-9358-68027B2861D1}"/>
          </ac:spMkLst>
        </pc:spChg>
        <pc:spChg chg="add del mod">
          <ac:chgData name="Yudi Wang" userId="d6d3e1ff-7fbc-44f4-bef1-29aa738b3b63" providerId="ADAL" clId="{89D7CA4C-4225-9640-8E67-3AC50C987A55}" dt="2021-10-21T08:34:37.725" v="2061" actId="478"/>
          <ac:spMkLst>
            <pc:docMk/>
            <pc:sldMk cId="2970492071" sldId="352"/>
            <ac:spMk id="9" creationId="{4F9AF918-B447-7144-98E8-6BD095C518C6}"/>
          </ac:spMkLst>
        </pc:spChg>
        <pc:spChg chg="add del">
          <ac:chgData name="Yudi Wang" userId="d6d3e1ff-7fbc-44f4-bef1-29aa738b3b63" providerId="ADAL" clId="{89D7CA4C-4225-9640-8E67-3AC50C987A55}" dt="2021-10-21T14:34:59.569" v="2182" actId="478"/>
          <ac:spMkLst>
            <pc:docMk/>
            <pc:sldMk cId="2970492071" sldId="352"/>
            <ac:spMk id="17" creationId="{199C9B14-A366-9F40-B0B4-37457FD08DD3}"/>
          </ac:spMkLst>
        </pc:spChg>
        <pc:picChg chg="add del mod">
          <ac:chgData name="Yudi Wang" userId="d6d3e1ff-7fbc-44f4-bef1-29aa738b3b63" providerId="ADAL" clId="{89D7CA4C-4225-9640-8E67-3AC50C987A55}" dt="2021-10-21T08:34:04.196" v="2052" actId="478"/>
          <ac:picMkLst>
            <pc:docMk/>
            <pc:sldMk cId="2970492071" sldId="352"/>
            <ac:picMk id="5" creationId="{1F1F7172-5E96-7946-B2E9-AEF1C63DED78}"/>
          </ac:picMkLst>
        </pc:picChg>
        <pc:picChg chg="add del mod">
          <ac:chgData name="Yudi Wang" userId="d6d3e1ff-7fbc-44f4-bef1-29aa738b3b63" providerId="ADAL" clId="{89D7CA4C-4225-9640-8E67-3AC50C987A55}" dt="2021-10-21T08:34:16.736" v="2054" actId="478"/>
          <ac:picMkLst>
            <pc:docMk/>
            <pc:sldMk cId="2970492071" sldId="352"/>
            <ac:picMk id="6" creationId="{D54F6443-BB1B-1843-BA6A-9DB471807FAF}"/>
          </ac:picMkLst>
        </pc:picChg>
        <pc:picChg chg="add del mod">
          <ac:chgData name="Yudi Wang" userId="d6d3e1ff-7fbc-44f4-bef1-29aa738b3b63" providerId="ADAL" clId="{89D7CA4C-4225-9640-8E67-3AC50C987A55}" dt="2021-10-21T08:34:22.621" v="2058" actId="478"/>
          <ac:picMkLst>
            <pc:docMk/>
            <pc:sldMk cId="2970492071" sldId="352"/>
            <ac:picMk id="7" creationId="{732BDC3D-5BBF-6B41-897A-E22046C4D742}"/>
          </ac:picMkLst>
        </pc:picChg>
        <pc:picChg chg="add del mod">
          <ac:chgData name="Yudi Wang" userId="d6d3e1ff-7fbc-44f4-bef1-29aa738b3b63" providerId="ADAL" clId="{89D7CA4C-4225-9640-8E67-3AC50C987A55}" dt="2021-10-21T14:35:09.491" v="2184" actId="21"/>
          <ac:picMkLst>
            <pc:docMk/>
            <pc:sldMk cId="2970492071" sldId="352"/>
            <ac:picMk id="11" creationId="{DDAFE0C8-F1B2-6F4E-990A-4C2879329630}"/>
          </ac:picMkLst>
        </pc:picChg>
        <pc:picChg chg="add del mod">
          <ac:chgData name="Yudi Wang" userId="d6d3e1ff-7fbc-44f4-bef1-29aa738b3b63" providerId="ADAL" clId="{89D7CA4C-4225-9640-8E67-3AC50C987A55}" dt="2021-10-21T08:41:37.150" v="2079" actId="478"/>
          <ac:picMkLst>
            <pc:docMk/>
            <pc:sldMk cId="2970492071" sldId="352"/>
            <ac:picMk id="13" creationId="{3CFD075C-F98B-4D42-BCCA-99B599E90D16}"/>
          </ac:picMkLst>
        </pc:picChg>
        <pc:picChg chg="add del mod">
          <ac:chgData name="Yudi Wang" userId="d6d3e1ff-7fbc-44f4-bef1-29aa738b3b63" providerId="ADAL" clId="{89D7CA4C-4225-9640-8E67-3AC50C987A55}" dt="2021-10-21T08:37:40.573" v="2074" actId="478"/>
          <ac:picMkLst>
            <pc:docMk/>
            <pc:sldMk cId="2970492071" sldId="352"/>
            <ac:picMk id="15" creationId="{3CF51FB0-2585-E445-8447-7D44EAF50C13}"/>
          </ac:picMkLst>
        </pc:picChg>
        <pc:picChg chg="add mod">
          <ac:chgData name="Yudi Wang" userId="d6d3e1ff-7fbc-44f4-bef1-29aa738b3b63" providerId="ADAL" clId="{89D7CA4C-4225-9640-8E67-3AC50C987A55}" dt="2021-10-21T14:35:36.969" v="2195" actId="14100"/>
          <ac:picMkLst>
            <pc:docMk/>
            <pc:sldMk cId="2970492071" sldId="352"/>
            <ac:picMk id="18" creationId="{8D78B49A-9B6A-AA42-9286-AA400FAF0094}"/>
          </ac:picMkLst>
        </pc:picChg>
      </pc:sldChg>
      <pc:sldChg chg="add del ord">
        <pc:chgData name="Yudi Wang" userId="d6d3e1ff-7fbc-44f4-bef1-29aa738b3b63" providerId="ADAL" clId="{89D7CA4C-4225-9640-8E67-3AC50C987A55}" dt="2021-10-21T15:48:55.087" v="2746" actId="2696"/>
        <pc:sldMkLst>
          <pc:docMk/>
          <pc:sldMk cId="2493031787" sldId="353"/>
        </pc:sldMkLst>
      </pc:sldChg>
      <pc:sldChg chg="addSp delSp modSp add mod">
        <pc:chgData name="Yudi Wang" userId="d6d3e1ff-7fbc-44f4-bef1-29aa738b3b63" providerId="ADAL" clId="{89D7CA4C-4225-9640-8E67-3AC50C987A55}" dt="2021-10-22T01:42:22.527" v="2757" actId="1076"/>
        <pc:sldMkLst>
          <pc:docMk/>
          <pc:sldMk cId="3966883010" sldId="354"/>
        </pc:sldMkLst>
        <pc:spChg chg="mod">
          <ac:chgData name="Yudi Wang" userId="d6d3e1ff-7fbc-44f4-bef1-29aa738b3b63" providerId="ADAL" clId="{89D7CA4C-4225-9640-8E67-3AC50C987A55}" dt="2021-10-21T15:18:52.040" v="2429" actId="20577"/>
          <ac:spMkLst>
            <pc:docMk/>
            <pc:sldMk cId="3966883010" sldId="354"/>
            <ac:spMk id="13" creationId="{CD12F295-986B-49B3-B714-7B35CD80CF04}"/>
          </ac:spMkLst>
        </pc:spChg>
        <pc:spChg chg="mod">
          <ac:chgData name="Yudi Wang" userId="d6d3e1ff-7fbc-44f4-bef1-29aa738b3b63" providerId="ADAL" clId="{89D7CA4C-4225-9640-8E67-3AC50C987A55}" dt="2021-10-22T01:42:20.901" v="2756" actId="1076"/>
          <ac:spMkLst>
            <pc:docMk/>
            <pc:sldMk cId="3966883010" sldId="354"/>
            <ac:spMk id="14" creationId="{31744EF3-C828-48AA-BBF7-92432F99DAD3}"/>
          </ac:spMkLst>
        </pc:spChg>
        <pc:picChg chg="add mod">
          <ac:chgData name="Yudi Wang" userId="d6d3e1ff-7fbc-44f4-bef1-29aa738b3b63" providerId="ADAL" clId="{89D7CA4C-4225-9640-8E67-3AC50C987A55}" dt="2021-10-22T01:42:22.527" v="2757" actId="1076"/>
          <ac:picMkLst>
            <pc:docMk/>
            <pc:sldMk cId="3966883010" sldId="354"/>
            <ac:picMk id="9" creationId="{57D9CA30-511E-0C4E-AA01-B205152E0E8D}"/>
          </ac:picMkLst>
        </pc:picChg>
        <pc:picChg chg="del mod">
          <ac:chgData name="Yudi Wang" userId="d6d3e1ff-7fbc-44f4-bef1-29aa738b3b63" providerId="ADAL" clId="{89D7CA4C-4225-9640-8E67-3AC50C987A55}" dt="2021-10-21T15:18:15.176" v="2415" actId="478"/>
          <ac:picMkLst>
            <pc:docMk/>
            <pc:sldMk cId="3966883010" sldId="354"/>
            <ac:picMk id="17" creationId="{6B97EBE3-2EC1-7945-8EF3-3FB46A28C300}"/>
          </ac:picMkLst>
        </pc:picChg>
        <pc:picChg chg="del">
          <ac:chgData name="Yudi Wang" userId="d6d3e1ff-7fbc-44f4-bef1-29aa738b3b63" providerId="ADAL" clId="{89D7CA4C-4225-9640-8E67-3AC50C987A55}" dt="2021-10-21T15:18:03.730" v="2413" actId="478"/>
          <ac:picMkLst>
            <pc:docMk/>
            <pc:sldMk cId="3966883010" sldId="354"/>
            <ac:picMk id="4098" creationId="{0DE9DF9A-39B4-DC49-91D2-B676DE3001E0}"/>
          </ac:picMkLst>
        </pc:picChg>
        <pc:cxnChg chg="del">
          <ac:chgData name="Yudi Wang" userId="d6d3e1ff-7fbc-44f4-bef1-29aa738b3b63" providerId="ADAL" clId="{89D7CA4C-4225-9640-8E67-3AC50C987A55}" dt="2021-10-21T15:18:00.805" v="2412" actId="478"/>
          <ac:cxnSpMkLst>
            <pc:docMk/>
            <pc:sldMk cId="3966883010" sldId="354"/>
            <ac:cxnSpMk id="19" creationId="{B3622104-8248-8A49-BE15-0537C79B7E48}"/>
          </ac:cxnSpMkLst>
        </pc:cxnChg>
      </pc:sldChg>
      <pc:sldChg chg="modSp new mod">
        <pc:chgData name="Yudi Wang" userId="d6d3e1ff-7fbc-44f4-bef1-29aa738b3b63" providerId="ADAL" clId="{89D7CA4C-4225-9640-8E67-3AC50C987A55}" dt="2021-10-21T15:47:13.704" v="2742" actId="20577"/>
        <pc:sldMkLst>
          <pc:docMk/>
          <pc:sldMk cId="427788499" sldId="355"/>
        </pc:sldMkLst>
        <pc:spChg chg="mod">
          <ac:chgData name="Yudi Wang" userId="d6d3e1ff-7fbc-44f4-bef1-29aa738b3b63" providerId="ADAL" clId="{89D7CA4C-4225-9640-8E67-3AC50C987A55}" dt="2021-10-21T15:46:35.235" v="2696" actId="20577"/>
          <ac:spMkLst>
            <pc:docMk/>
            <pc:sldMk cId="427788499" sldId="355"/>
            <ac:spMk id="2" creationId="{0BB1B739-D6C1-C140-B4BE-CAC84626E9CA}"/>
          </ac:spMkLst>
        </pc:spChg>
        <pc:spChg chg="mod">
          <ac:chgData name="Yudi Wang" userId="d6d3e1ff-7fbc-44f4-bef1-29aa738b3b63" providerId="ADAL" clId="{89D7CA4C-4225-9640-8E67-3AC50C987A55}" dt="2021-10-21T15:47:13.704" v="2742" actId="20577"/>
          <ac:spMkLst>
            <pc:docMk/>
            <pc:sldMk cId="427788499" sldId="355"/>
            <ac:spMk id="3" creationId="{7F6D20A9-20CF-B844-A800-7593ACD2DDB3}"/>
          </ac:spMkLst>
        </pc:spChg>
      </pc:sldChg>
      <pc:sldChg chg="modSp mod">
        <pc:chgData name="Yudi Wang" userId="d6d3e1ff-7fbc-44f4-bef1-29aa738b3b63" providerId="ADAL" clId="{89D7CA4C-4225-9640-8E67-3AC50C987A55}" dt="2021-10-22T02:15:10.104" v="2761" actId="20577"/>
        <pc:sldMkLst>
          <pc:docMk/>
          <pc:sldMk cId="666581065" sldId="356"/>
        </pc:sldMkLst>
        <pc:spChg chg="mod">
          <ac:chgData name="Yudi Wang" userId="d6d3e1ff-7fbc-44f4-bef1-29aa738b3b63" providerId="ADAL" clId="{89D7CA4C-4225-9640-8E67-3AC50C987A55}" dt="2021-10-22T02:15:10.104" v="2761" actId="20577"/>
          <ac:spMkLst>
            <pc:docMk/>
            <pc:sldMk cId="666581065" sldId="356"/>
            <ac:spMk id="9" creationId="{1EE01DF2-DDDC-435F-B41A-8FA95852BE7E}"/>
          </ac:spMkLst>
        </pc:spChg>
      </pc:sldChg>
    </pc:docChg>
  </pc:docChgLst>
  <pc:docChgLst>
    <pc:chgData name="XingYifan" userId="S::yifan.xing@fs-students.de::ec0b773b-020c-4ca1-9a1f-a4f9c5eab3ae" providerId="AD" clId="Web-{8AEEED08-FCD3-D1D9-5B28-C0014E693349}"/>
    <pc:docChg chg="addSld delSld modSld">
      <pc:chgData name="XingYifan" userId="S::yifan.xing@fs-students.de::ec0b773b-020c-4ca1-9a1f-a4f9c5eab3ae" providerId="AD" clId="Web-{8AEEED08-FCD3-D1D9-5B28-C0014E693349}" dt="2021-10-18T20:07:33.928" v="8797" actId="20577"/>
      <pc:docMkLst>
        <pc:docMk/>
      </pc:docMkLst>
      <pc:sldChg chg="del">
        <pc:chgData name="XingYifan" userId="S::yifan.xing@fs-students.de::ec0b773b-020c-4ca1-9a1f-a4f9c5eab3ae" providerId="AD" clId="Web-{8AEEED08-FCD3-D1D9-5B28-C0014E693349}" dt="2021-10-18T13:55:00.047" v="8175"/>
        <pc:sldMkLst>
          <pc:docMk/>
          <pc:sldMk cId="1980604428" sldId="325"/>
        </pc:sldMkLst>
      </pc:sldChg>
      <pc:sldChg chg="addSp delSp modSp new mod modClrScheme chgLayout">
        <pc:chgData name="XingYifan" userId="S::yifan.xing@fs-students.de::ec0b773b-020c-4ca1-9a1f-a4f9c5eab3ae" providerId="AD" clId="Web-{8AEEED08-FCD3-D1D9-5B28-C0014E693349}" dt="2021-10-18T13:55:19.282" v="8182" actId="1076"/>
        <pc:sldMkLst>
          <pc:docMk/>
          <pc:sldMk cId="2463758819" sldId="326"/>
        </pc:sldMkLst>
        <pc:spChg chg="del">
          <ac:chgData name="XingYifan" userId="S::yifan.xing@fs-students.de::ec0b773b-020c-4ca1-9a1f-a4f9c5eab3ae" providerId="AD" clId="Web-{8AEEED08-FCD3-D1D9-5B28-C0014E693349}" dt="2021-10-17T12:36:24.679" v="1"/>
          <ac:spMkLst>
            <pc:docMk/>
            <pc:sldMk cId="2463758819" sldId="326"/>
            <ac:spMk id="2" creationId="{85B1CAF3-DF8E-4536-AA09-2D814D17A684}"/>
          </ac:spMkLst>
        </pc:spChg>
        <pc:spChg chg="del">
          <ac:chgData name="XingYifan" userId="S::yifan.xing@fs-students.de::ec0b773b-020c-4ca1-9a1f-a4f9c5eab3ae" providerId="AD" clId="Web-{8AEEED08-FCD3-D1D9-5B28-C0014E693349}" dt="2021-10-17T12:36:25.882" v="2"/>
          <ac:spMkLst>
            <pc:docMk/>
            <pc:sldMk cId="2463758819" sldId="326"/>
            <ac:spMk id="3" creationId="{761DB450-2AC2-4EAB-8BEB-42116DE7FFE7}"/>
          </ac:spMkLst>
        </pc:spChg>
        <pc:spChg chg="add mod">
          <ac:chgData name="XingYifan" userId="S::yifan.xing@fs-students.de::ec0b773b-020c-4ca1-9a1f-a4f9c5eab3ae" providerId="AD" clId="Web-{8AEEED08-FCD3-D1D9-5B28-C0014E693349}" dt="2021-10-18T13:55:06.907" v="8177" actId="1076"/>
          <ac:spMkLst>
            <pc:docMk/>
            <pc:sldMk cId="2463758819" sldId="326"/>
            <ac:spMk id="4" creationId="{F281A649-B5EF-4055-8C28-5B3FC1B4BE36}"/>
          </ac:spMkLst>
        </pc:spChg>
        <pc:spChg chg="add del">
          <ac:chgData name="XingYifan" userId="S::yifan.xing@fs-students.de::ec0b773b-020c-4ca1-9a1f-a4f9c5eab3ae" providerId="AD" clId="Web-{8AEEED08-FCD3-D1D9-5B28-C0014E693349}" dt="2021-10-17T12:37:07.274" v="15"/>
          <ac:spMkLst>
            <pc:docMk/>
            <pc:sldMk cId="2463758819" sldId="326"/>
            <ac:spMk id="5" creationId="{86E2F34C-0C8E-4C8A-8539-8648AD740BDE}"/>
          </ac:spMkLst>
        </pc:spChg>
        <pc:spChg chg="add mod">
          <ac:chgData name="XingYifan" userId="S::yifan.xing@fs-students.de::ec0b773b-020c-4ca1-9a1f-a4f9c5eab3ae" providerId="AD" clId="Web-{8AEEED08-FCD3-D1D9-5B28-C0014E693349}" dt="2021-10-18T13:55:09.922" v="8178" actId="1076"/>
          <ac:spMkLst>
            <pc:docMk/>
            <pc:sldMk cId="2463758819" sldId="326"/>
            <ac:spMk id="6" creationId="{299AE365-E16F-4EB9-B960-F5D2D59AABFC}"/>
          </ac:spMkLst>
        </pc:spChg>
        <pc:spChg chg="add mod">
          <ac:chgData name="XingYifan" userId="S::yifan.xing@fs-students.de::ec0b773b-020c-4ca1-9a1f-a4f9c5eab3ae" providerId="AD" clId="Web-{8AEEED08-FCD3-D1D9-5B28-C0014E693349}" dt="2021-10-18T13:55:12.094" v="8179" actId="1076"/>
          <ac:spMkLst>
            <pc:docMk/>
            <pc:sldMk cId="2463758819" sldId="326"/>
            <ac:spMk id="7" creationId="{45C045E5-A35F-4110-B32B-745E1400B0B3}"/>
          </ac:spMkLst>
        </pc:spChg>
        <pc:spChg chg="add mod">
          <ac:chgData name="XingYifan" userId="S::yifan.xing@fs-students.de::ec0b773b-020c-4ca1-9a1f-a4f9c5eab3ae" providerId="AD" clId="Web-{8AEEED08-FCD3-D1D9-5B28-C0014E693349}" dt="2021-10-18T13:55:14.391" v="8180" actId="1076"/>
          <ac:spMkLst>
            <pc:docMk/>
            <pc:sldMk cId="2463758819" sldId="326"/>
            <ac:spMk id="8" creationId="{076C8BC2-16B9-46D3-A401-B44C246EDFBF}"/>
          </ac:spMkLst>
        </pc:spChg>
        <pc:spChg chg="add mod">
          <ac:chgData name="XingYifan" userId="S::yifan.xing@fs-students.de::ec0b773b-020c-4ca1-9a1f-a4f9c5eab3ae" providerId="AD" clId="Web-{8AEEED08-FCD3-D1D9-5B28-C0014E693349}" dt="2021-10-18T13:55:16.360" v="8181" actId="1076"/>
          <ac:spMkLst>
            <pc:docMk/>
            <pc:sldMk cId="2463758819" sldId="326"/>
            <ac:spMk id="9" creationId="{985E91C7-3A24-42FE-A5E4-AB1F6B01DC18}"/>
          </ac:spMkLst>
        </pc:spChg>
        <pc:spChg chg="add mod">
          <ac:chgData name="XingYifan" userId="S::yifan.xing@fs-students.de::ec0b773b-020c-4ca1-9a1f-a4f9c5eab3ae" providerId="AD" clId="Web-{8AEEED08-FCD3-D1D9-5B28-C0014E693349}" dt="2021-10-18T13:55:19.282" v="8182" actId="1076"/>
          <ac:spMkLst>
            <pc:docMk/>
            <pc:sldMk cId="2463758819" sldId="326"/>
            <ac:spMk id="10" creationId="{0A0A742A-747F-4613-A531-500FFD59C961}"/>
          </ac:spMkLst>
        </pc:spChg>
        <pc:spChg chg="add mod ord">
          <ac:chgData name="XingYifan" userId="S::yifan.xing@fs-students.de::ec0b773b-020c-4ca1-9a1f-a4f9c5eab3ae" providerId="AD" clId="Web-{8AEEED08-FCD3-D1D9-5B28-C0014E693349}" dt="2021-10-18T13:55:04.750" v="8176" actId="14100"/>
          <ac:spMkLst>
            <pc:docMk/>
            <pc:sldMk cId="2463758819" sldId="326"/>
            <ac:spMk id="11" creationId="{8FFD62F2-B38A-4F52-9919-A497B2CC4C83}"/>
          </ac:spMkLst>
        </pc:spChg>
      </pc:sldChg>
      <pc:sldChg chg="addSp delSp modSp new modNotes">
        <pc:chgData name="XingYifan" userId="S::yifan.xing@fs-students.de::ec0b773b-020c-4ca1-9a1f-a4f9c5eab3ae" providerId="AD" clId="Web-{8AEEED08-FCD3-D1D9-5B28-C0014E693349}" dt="2021-10-18T19:38:34.973" v="8781" actId="20577"/>
        <pc:sldMkLst>
          <pc:docMk/>
          <pc:sldMk cId="2162620498" sldId="327"/>
        </pc:sldMkLst>
        <pc:spChg chg="mod">
          <ac:chgData name="XingYifan" userId="S::yifan.xing@fs-students.de::ec0b773b-020c-4ca1-9a1f-a4f9c5eab3ae" providerId="AD" clId="Web-{8AEEED08-FCD3-D1D9-5B28-C0014E693349}" dt="2021-10-18T19:37:26.674" v="8762" actId="20577"/>
          <ac:spMkLst>
            <pc:docMk/>
            <pc:sldMk cId="2162620498" sldId="327"/>
            <ac:spMk id="2" creationId="{26C38E3E-8109-4228-BEB5-5C64F73A0D69}"/>
          </ac:spMkLst>
        </pc:spChg>
        <pc:spChg chg="add del mod">
          <ac:chgData name="XingYifan" userId="S::yifan.xing@fs-students.de::ec0b773b-020c-4ca1-9a1f-a4f9c5eab3ae" providerId="AD" clId="Web-{8AEEED08-FCD3-D1D9-5B28-C0014E693349}" dt="2021-10-17T18:56:30.944" v="4914"/>
          <ac:spMkLst>
            <pc:docMk/>
            <pc:sldMk cId="2162620498" sldId="327"/>
            <ac:spMk id="3" creationId="{29338E86-DC58-4318-94A5-2A0BD9DD7905}"/>
          </ac:spMkLst>
        </pc:spChg>
        <pc:spChg chg="add del mod">
          <ac:chgData name="XingYifan" userId="S::yifan.xing@fs-students.de::ec0b773b-020c-4ca1-9a1f-a4f9c5eab3ae" providerId="AD" clId="Web-{8AEEED08-FCD3-D1D9-5B28-C0014E693349}" dt="2021-10-17T13:12:37.032" v="634"/>
          <ac:spMkLst>
            <pc:docMk/>
            <pc:sldMk cId="2162620498" sldId="327"/>
            <ac:spMk id="3" creationId="{C9D7ACA5-AC63-43FB-8ED4-BA6637F09CE5}"/>
          </ac:spMkLst>
        </pc:spChg>
        <pc:spChg chg="add mod">
          <ac:chgData name="XingYifan" userId="S::yifan.xing@fs-students.de::ec0b773b-020c-4ca1-9a1f-a4f9c5eab3ae" providerId="AD" clId="Web-{8AEEED08-FCD3-D1D9-5B28-C0014E693349}" dt="2021-10-18T19:38:34.973" v="8781" actId="20577"/>
          <ac:spMkLst>
            <pc:docMk/>
            <pc:sldMk cId="2162620498" sldId="327"/>
            <ac:spMk id="3" creationId="{F89D7F64-198B-4936-B681-D6066F272A9A}"/>
          </ac:spMkLst>
        </pc:spChg>
        <pc:spChg chg="add del mod">
          <ac:chgData name="XingYifan" userId="S::yifan.xing@fs-students.de::ec0b773b-020c-4ca1-9a1f-a4f9c5eab3ae" providerId="AD" clId="Web-{8AEEED08-FCD3-D1D9-5B28-C0014E693349}" dt="2021-10-17T13:13:40.112" v="643"/>
          <ac:spMkLst>
            <pc:docMk/>
            <pc:sldMk cId="2162620498" sldId="327"/>
            <ac:spMk id="4" creationId="{0DC10517-6921-4092-AC6B-A2898B9DBB10}"/>
          </ac:spMkLst>
        </pc:spChg>
        <pc:spChg chg="add mod">
          <ac:chgData name="XingYifan" userId="S::yifan.xing@fs-students.de::ec0b773b-020c-4ca1-9a1f-a4f9c5eab3ae" providerId="AD" clId="Web-{8AEEED08-FCD3-D1D9-5B28-C0014E693349}" dt="2021-10-18T14:22:02.582" v="8300" actId="20577"/>
          <ac:spMkLst>
            <pc:docMk/>
            <pc:sldMk cId="2162620498" sldId="327"/>
            <ac:spMk id="4" creationId="{B24CEA83-3EDA-4925-92BF-C5C8D0A4BEA0}"/>
          </ac:spMkLst>
        </pc:spChg>
        <pc:spChg chg="add del mod">
          <ac:chgData name="XingYifan" userId="S::yifan.xing@fs-students.de::ec0b773b-020c-4ca1-9a1f-a4f9c5eab3ae" providerId="AD" clId="Web-{8AEEED08-FCD3-D1D9-5B28-C0014E693349}" dt="2021-10-17T20:01:23.922" v="5329"/>
          <ac:spMkLst>
            <pc:docMk/>
            <pc:sldMk cId="2162620498" sldId="327"/>
            <ac:spMk id="5" creationId="{955DFEC4-A7DE-4083-BEEA-6F7A2F8BE4E0}"/>
          </ac:spMkLst>
        </pc:spChg>
        <pc:spChg chg="add del mod">
          <ac:chgData name="XingYifan" userId="S::yifan.xing@fs-students.de::ec0b773b-020c-4ca1-9a1f-a4f9c5eab3ae" providerId="AD" clId="Web-{8AEEED08-FCD3-D1D9-5B28-C0014E693349}" dt="2021-10-17T15:31:42.342" v="4511"/>
          <ac:spMkLst>
            <pc:docMk/>
            <pc:sldMk cId="2162620498" sldId="327"/>
            <ac:spMk id="6" creationId="{BB6140D3-09F6-45E5-B487-932D45DA42F9}"/>
          </ac:spMkLst>
        </pc:spChg>
        <pc:spChg chg="add del mod">
          <ac:chgData name="XingYifan" userId="S::yifan.xing@fs-students.de::ec0b773b-020c-4ca1-9a1f-a4f9c5eab3ae" providerId="AD" clId="Web-{8AEEED08-FCD3-D1D9-5B28-C0014E693349}" dt="2021-10-17T21:24:25.647" v="7044"/>
          <ac:spMkLst>
            <pc:docMk/>
            <pc:sldMk cId="2162620498" sldId="327"/>
            <ac:spMk id="7" creationId="{8E7DF58B-1C14-4D96-ADE1-D49EFB52BF0C}"/>
          </ac:spMkLst>
        </pc:spChg>
        <pc:spChg chg="add mod">
          <ac:chgData name="XingYifan" userId="S::yifan.xing@fs-students.de::ec0b773b-020c-4ca1-9a1f-a4f9c5eab3ae" providerId="AD" clId="Web-{8AEEED08-FCD3-D1D9-5B28-C0014E693349}" dt="2021-10-18T14:22:38.913" v="8330" actId="20577"/>
          <ac:spMkLst>
            <pc:docMk/>
            <pc:sldMk cId="2162620498" sldId="327"/>
            <ac:spMk id="8" creationId="{B893367A-DE2A-4596-8943-1B4D9F17ADE5}"/>
          </ac:spMkLst>
        </pc:spChg>
        <pc:spChg chg="add del mod">
          <ac:chgData name="XingYifan" userId="S::yifan.xing@fs-students.de::ec0b773b-020c-4ca1-9a1f-a4f9c5eab3ae" providerId="AD" clId="Web-{8AEEED08-FCD3-D1D9-5B28-C0014E693349}" dt="2021-10-17T17:38:39.862" v="4565"/>
          <ac:spMkLst>
            <pc:docMk/>
            <pc:sldMk cId="2162620498" sldId="327"/>
            <ac:spMk id="9" creationId="{26995B0B-567E-4E98-A111-82B06E760278}"/>
          </ac:spMkLst>
        </pc:spChg>
        <pc:spChg chg="add del mod">
          <ac:chgData name="XingYifan" userId="S::yifan.xing@fs-students.de::ec0b773b-020c-4ca1-9a1f-a4f9c5eab3ae" providerId="AD" clId="Web-{8AEEED08-FCD3-D1D9-5B28-C0014E693349}" dt="2021-10-17T21:01:35.471" v="6666"/>
          <ac:spMkLst>
            <pc:docMk/>
            <pc:sldMk cId="2162620498" sldId="327"/>
            <ac:spMk id="9" creationId="{5497D01A-17F7-425A-85AB-6F70E212C7BF}"/>
          </ac:spMkLst>
        </pc:spChg>
        <pc:spChg chg="add mod">
          <ac:chgData name="XingYifan" userId="S::yifan.xing@fs-students.de::ec0b773b-020c-4ca1-9a1f-a4f9c5eab3ae" providerId="AD" clId="Web-{8AEEED08-FCD3-D1D9-5B28-C0014E693349}" dt="2021-10-18T15:14:01.082" v="8717" actId="20577"/>
          <ac:spMkLst>
            <pc:docMk/>
            <pc:sldMk cId="2162620498" sldId="327"/>
            <ac:spMk id="9" creationId="{61785E7A-F957-47BA-9863-7E4FA5F1870F}"/>
          </ac:spMkLst>
        </pc:spChg>
        <pc:spChg chg="add del mod">
          <ac:chgData name="XingYifan" userId="S::yifan.xing@fs-students.de::ec0b773b-020c-4ca1-9a1f-a4f9c5eab3ae" providerId="AD" clId="Web-{8AEEED08-FCD3-D1D9-5B28-C0014E693349}" dt="2021-10-17T20:04:04.613" v="5399"/>
          <ac:spMkLst>
            <pc:docMk/>
            <pc:sldMk cId="2162620498" sldId="327"/>
            <ac:spMk id="10" creationId="{4963302E-0F48-4E74-A1C1-4155AFB708C6}"/>
          </ac:spMkLst>
        </pc:spChg>
        <pc:spChg chg="add del mod">
          <ac:chgData name="XingYifan" userId="S::yifan.xing@fs-students.de::ec0b773b-020c-4ca1-9a1f-a4f9c5eab3ae" providerId="AD" clId="Web-{8AEEED08-FCD3-D1D9-5B28-C0014E693349}" dt="2021-10-18T13:08:29.220" v="7528"/>
          <ac:spMkLst>
            <pc:docMk/>
            <pc:sldMk cId="2162620498" sldId="327"/>
            <ac:spMk id="10" creationId="{6DEB3A1C-18D8-4619-BAA5-942B233FDB3D}"/>
          </ac:spMkLst>
        </pc:spChg>
        <pc:spChg chg="add del mod">
          <ac:chgData name="XingYifan" userId="S::yifan.xing@fs-students.de::ec0b773b-020c-4ca1-9a1f-a4f9c5eab3ae" providerId="AD" clId="Web-{8AEEED08-FCD3-D1D9-5B28-C0014E693349}" dt="2021-10-17T21:23:13.864" v="7023"/>
          <ac:spMkLst>
            <pc:docMk/>
            <pc:sldMk cId="2162620498" sldId="327"/>
            <ac:spMk id="11" creationId="{3626F8C3-A20A-4AA6-86F9-A75440DC90EB}"/>
          </ac:spMkLst>
        </pc:spChg>
        <pc:spChg chg="add del mod">
          <ac:chgData name="XingYifan" userId="S::yifan.xing@fs-students.de::ec0b773b-020c-4ca1-9a1f-a4f9c5eab3ae" providerId="AD" clId="Web-{8AEEED08-FCD3-D1D9-5B28-C0014E693349}" dt="2021-10-18T13:44:21.459" v="8043"/>
          <ac:spMkLst>
            <pc:docMk/>
            <pc:sldMk cId="2162620498" sldId="327"/>
            <ac:spMk id="11" creationId="{8F0A82A6-652C-4714-A012-27EC21A0DE57}"/>
          </ac:spMkLst>
        </pc:spChg>
        <pc:spChg chg="add del mod">
          <ac:chgData name="XingYifan" userId="S::yifan.xing@fs-students.de::ec0b773b-020c-4ca1-9a1f-a4f9c5eab3ae" providerId="AD" clId="Web-{8AEEED08-FCD3-D1D9-5B28-C0014E693349}" dt="2021-10-17T18:55:48.380" v="4900"/>
          <ac:spMkLst>
            <pc:docMk/>
            <pc:sldMk cId="2162620498" sldId="327"/>
            <ac:spMk id="11" creationId="{ED2C80D0-95B1-4D0F-8C93-54038DB64CC9}"/>
          </ac:spMkLst>
        </pc:spChg>
        <pc:spChg chg="add del mod">
          <ac:chgData name="XingYifan" userId="S::yifan.xing@fs-students.de::ec0b773b-020c-4ca1-9a1f-a4f9c5eab3ae" providerId="AD" clId="Web-{8AEEED08-FCD3-D1D9-5B28-C0014E693349}" dt="2021-10-18T12:51:14.781" v="7302"/>
          <ac:spMkLst>
            <pc:docMk/>
            <pc:sldMk cId="2162620498" sldId="327"/>
            <ac:spMk id="12" creationId="{22C285A2-DA28-4233-B630-80511C10C74D}"/>
          </ac:spMkLst>
        </pc:spChg>
        <pc:spChg chg="add del mod">
          <ac:chgData name="XingYifan" userId="S::yifan.xing@fs-students.de::ec0b773b-020c-4ca1-9a1f-a4f9c5eab3ae" providerId="AD" clId="Web-{8AEEED08-FCD3-D1D9-5B28-C0014E693349}" dt="2021-10-17T18:55:53.724" v="4902"/>
          <ac:spMkLst>
            <pc:docMk/>
            <pc:sldMk cId="2162620498" sldId="327"/>
            <ac:spMk id="12" creationId="{A4ECE410-FEF3-4FF5-8FA9-DBFE108AA097}"/>
          </ac:spMkLst>
        </pc:spChg>
        <pc:spChg chg="add del mod">
          <ac:chgData name="XingYifan" userId="S::yifan.xing@fs-students.de::ec0b773b-020c-4ca1-9a1f-a4f9c5eab3ae" providerId="AD" clId="Web-{8AEEED08-FCD3-D1D9-5B28-C0014E693349}" dt="2021-10-17T21:23:34.724" v="7031"/>
          <ac:spMkLst>
            <pc:docMk/>
            <pc:sldMk cId="2162620498" sldId="327"/>
            <ac:spMk id="13" creationId="{6E3DC326-C7EB-4B2B-A637-7C1E77C3BFCB}"/>
          </ac:spMkLst>
        </pc:spChg>
        <pc:spChg chg="add del mod">
          <ac:chgData name="XingYifan" userId="S::yifan.xing@fs-students.de::ec0b773b-020c-4ca1-9a1f-a4f9c5eab3ae" providerId="AD" clId="Web-{8AEEED08-FCD3-D1D9-5B28-C0014E693349}" dt="2021-10-17T18:55:57.427" v="4904"/>
          <ac:spMkLst>
            <pc:docMk/>
            <pc:sldMk cId="2162620498" sldId="327"/>
            <ac:spMk id="13" creationId="{8A883671-FA8D-41A4-8EB1-7344719C0D0E}"/>
          </ac:spMkLst>
        </pc:spChg>
        <pc:spChg chg="add del mod">
          <ac:chgData name="XingYifan" userId="S::yifan.xing@fs-students.de::ec0b773b-020c-4ca1-9a1f-a4f9c5eab3ae" providerId="AD" clId="Web-{8AEEED08-FCD3-D1D9-5B28-C0014E693349}" dt="2021-10-17T21:23:19.427" v="7025"/>
          <ac:spMkLst>
            <pc:docMk/>
            <pc:sldMk cId="2162620498" sldId="327"/>
            <ac:spMk id="14" creationId="{ABCC2BC0-E76A-4A07-9DFF-C7F37DAAD7EA}"/>
          </ac:spMkLst>
        </pc:spChg>
        <pc:graphicFrameChg chg="add del mod modGraphic">
          <ac:chgData name="XingYifan" userId="S::yifan.xing@fs-students.de::ec0b773b-020c-4ca1-9a1f-a4f9c5eab3ae" providerId="AD" clId="Web-{8AEEED08-FCD3-D1D9-5B28-C0014E693349}" dt="2021-10-17T18:05:46.306" v="4661"/>
          <ac:graphicFrameMkLst>
            <pc:docMk/>
            <pc:sldMk cId="2162620498" sldId="327"/>
            <ac:graphicFrameMk id="5" creationId="{19F50C68-12B7-47FD-9E85-9FFEF0989D8F}"/>
          </ac:graphicFrameMkLst>
        </pc:graphicFrameChg>
        <pc:picChg chg="add mod">
          <ac:chgData name="XingYifan" userId="S::yifan.xing@fs-students.de::ec0b773b-020c-4ca1-9a1f-a4f9c5eab3ae" providerId="AD" clId="Web-{8AEEED08-FCD3-D1D9-5B28-C0014E693349}" dt="2021-10-18T13:58:39.348" v="8206" actId="1076"/>
          <ac:picMkLst>
            <pc:docMk/>
            <pc:sldMk cId="2162620498" sldId="327"/>
            <ac:picMk id="5" creationId="{B3EB4551-D899-4B29-B886-FFE788ADE385}"/>
          </ac:picMkLst>
        </pc:picChg>
        <pc:picChg chg="add mod">
          <ac:chgData name="XingYifan" userId="S::yifan.xing@fs-students.de::ec0b773b-020c-4ca1-9a1f-a4f9c5eab3ae" providerId="AD" clId="Web-{8AEEED08-FCD3-D1D9-5B28-C0014E693349}" dt="2021-10-18T12:53:35.315" v="7381" actId="1076"/>
          <ac:picMkLst>
            <pc:docMk/>
            <pc:sldMk cId="2162620498" sldId="327"/>
            <ac:picMk id="6" creationId="{E48E24C9-BCDB-4EDB-A18D-24BA04D6D808}"/>
          </ac:picMkLst>
        </pc:picChg>
        <pc:picChg chg="add mod">
          <ac:chgData name="XingYifan" userId="S::yifan.xing@fs-students.de::ec0b773b-020c-4ca1-9a1f-a4f9c5eab3ae" providerId="AD" clId="Web-{8AEEED08-FCD3-D1D9-5B28-C0014E693349}" dt="2021-10-18T15:17:56.619" v="8718" actId="1076"/>
          <ac:picMkLst>
            <pc:docMk/>
            <pc:sldMk cId="2162620498" sldId="327"/>
            <ac:picMk id="7" creationId="{5B97C1C5-64EB-434D-A496-E8C7E81ADE8A}"/>
          </ac:picMkLst>
        </pc:picChg>
        <pc:picChg chg="add del mod">
          <ac:chgData name="XingYifan" userId="S::yifan.xing@fs-students.de::ec0b773b-020c-4ca1-9a1f-a4f9c5eab3ae" providerId="AD" clId="Web-{8AEEED08-FCD3-D1D9-5B28-C0014E693349}" dt="2021-10-17T21:25:07.664" v="7057"/>
          <ac:picMkLst>
            <pc:docMk/>
            <pc:sldMk cId="2162620498" sldId="327"/>
            <ac:picMk id="8" creationId="{F94B3859-56F6-4999-B1D9-188E5B7770D4}"/>
          </ac:picMkLst>
        </pc:picChg>
        <pc:picChg chg="add del mod">
          <ac:chgData name="XingYifan" userId="S::yifan.xing@fs-students.de::ec0b773b-020c-4ca1-9a1f-a4f9c5eab3ae" providerId="AD" clId="Web-{8AEEED08-FCD3-D1D9-5B28-C0014E693349}" dt="2021-10-17T17:43:10.917" v="4599"/>
          <ac:picMkLst>
            <pc:docMk/>
            <pc:sldMk cId="2162620498" sldId="327"/>
            <ac:picMk id="10" creationId="{F99D3310-12BB-437D-B21C-942B6AFB3772}"/>
          </ac:picMkLst>
        </pc:picChg>
        <pc:picChg chg="add del mod">
          <ac:chgData name="XingYifan" userId="S::yifan.xing@fs-students.de::ec0b773b-020c-4ca1-9a1f-a4f9c5eab3ae" providerId="AD" clId="Web-{8AEEED08-FCD3-D1D9-5B28-C0014E693349}" dt="2021-10-17T21:27:19.499" v="7060"/>
          <ac:picMkLst>
            <pc:docMk/>
            <pc:sldMk cId="2162620498" sldId="327"/>
            <ac:picMk id="15" creationId="{8AD906D0-CAED-4225-82E1-3F2E2710841D}"/>
          </ac:picMkLst>
        </pc:picChg>
        <pc:picChg chg="add mod">
          <ac:chgData name="XingYifan" userId="S::yifan.xing@fs-students.de::ec0b773b-020c-4ca1-9a1f-a4f9c5eab3ae" providerId="AD" clId="Web-{8AEEED08-FCD3-D1D9-5B28-C0014E693349}" dt="2021-10-18T12:53:36.408" v="7382" actId="1076"/>
          <ac:picMkLst>
            <pc:docMk/>
            <pc:sldMk cId="2162620498" sldId="327"/>
            <ac:picMk id="16" creationId="{8C1B3448-AC5F-43E2-B6B5-D3C1A9349F52}"/>
          </ac:picMkLst>
        </pc:picChg>
        <pc:picChg chg="add del mod">
          <ac:chgData name="XingYifan" userId="S::yifan.xing@fs-students.de::ec0b773b-020c-4ca1-9a1f-a4f9c5eab3ae" providerId="AD" clId="Web-{8AEEED08-FCD3-D1D9-5B28-C0014E693349}" dt="2021-10-18T12:53:20.142" v="7376"/>
          <ac:picMkLst>
            <pc:docMk/>
            <pc:sldMk cId="2162620498" sldId="327"/>
            <ac:picMk id="17" creationId="{23B87D84-CFDA-4419-96D4-3863F3EF92C7}"/>
          </ac:picMkLst>
        </pc:picChg>
      </pc:sldChg>
      <pc:sldChg chg="addSp delSp modSp new del">
        <pc:chgData name="XingYifan" userId="S::yifan.xing@fs-students.de::ec0b773b-020c-4ca1-9a1f-a4f9c5eab3ae" providerId="AD" clId="Web-{8AEEED08-FCD3-D1D9-5B28-C0014E693349}" dt="2021-10-18T13:50:25.715" v="8063"/>
        <pc:sldMkLst>
          <pc:docMk/>
          <pc:sldMk cId="3375820503" sldId="328"/>
        </pc:sldMkLst>
        <pc:spChg chg="mod">
          <ac:chgData name="XingYifan" userId="S::yifan.xing@fs-students.de::ec0b773b-020c-4ca1-9a1f-a4f9c5eab3ae" providerId="AD" clId="Web-{8AEEED08-FCD3-D1D9-5B28-C0014E693349}" dt="2021-10-17T13:45:54.650" v="3659" actId="1076"/>
          <ac:spMkLst>
            <pc:docMk/>
            <pc:sldMk cId="3375820503" sldId="328"/>
            <ac:spMk id="2" creationId="{6DE5545F-3336-4034-AD43-F5ACC13232CD}"/>
          </ac:spMkLst>
        </pc:spChg>
        <pc:graphicFrameChg chg="add mod modGraphic">
          <ac:chgData name="XingYifan" userId="S::yifan.xing@fs-students.de::ec0b773b-020c-4ca1-9a1f-a4f9c5eab3ae" providerId="AD" clId="Web-{8AEEED08-FCD3-D1D9-5B28-C0014E693349}" dt="2021-10-17T13:52:41.458" v="4004"/>
          <ac:graphicFrameMkLst>
            <pc:docMk/>
            <pc:sldMk cId="3375820503" sldId="328"/>
            <ac:graphicFrameMk id="4" creationId="{0B69EF71-5815-4ABA-8A36-E9F8E18A63C9}"/>
          </ac:graphicFrameMkLst>
        </pc:graphicFrameChg>
        <pc:picChg chg="add del mod">
          <ac:chgData name="XingYifan" userId="S::yifan.xing@fs-students.de::ec0b773b-020c-4ca1-9a1f-a4f9c5eab3ae" providerId="AD" clId="Web-{8AEEED08-FCD3-D1D9-5B28-C0014E693349}" dt="2021-10-18T13:50:19.214" v="8062"/>
          <ac:picMkLst>
            <pc:docMk/>
            <pc:sldMk cId="3375820503" sldId="328"/>
            <ac:picMk id="3" creationId="{D809FD0B-CA75-4510-9230-26CCF9D974F8}"/>
          </ac:picMkLst>
        </pc:picChg>
      </pc:sldChg>
      <pc:sldChg chg="addSp modSp new del">
        <pc:chgData name="XingYifan" userId="S::yifan.xing@fs-students.de::ec0b773b-020c-4ca1-9a1f-a4f9c5eab3ae" providerId="AD" clId="Web-{8AEEED08-FCD3-D1D9-5B28-C0014E693349}" dt="2021-10-17T20:37:20.632" v="6214"/>
        <pc:sldMkLst>
          <pc:docMk/>
          <pc:sldMk cId="2465216555" sldId="329"/>
        </pc:sldMkLst>
        <pc:spChg chg="mod">
          <ac:chgData name="XingYifan" userId="S::yifan.xing@fs-students.de::ec0b773b-020c-4ca1-9a1f-a4f9c5eab3ae" providerId="AD" clId="Web-{8AEEED08-FCD3-D1D9-5B28-C0014E693349}" dt="2021-10-17T13:46:09.776" v="3662" actId="1076"/>
          <ac:spMkLst>
            <pc:docMk/>
            <pc:sldMk cId="2465216555" sldId="329"/>
            <ac:spMk id="2" creationId="{E2B6148B-50C3-4CFD-A502-316AF55DF853}"/>
          </ac:spMkLst>
        </pc:spChg>
        <pc:graphicFrameChg chg="add mod modGraphic">
          <ac:chgData name="XingYifan" userId="S::yifan.xing@fs-students.de::ec0b773b-020c-4ca1-9a1f-a4f9c5eab3ae" providerId="AD" clId="Web-{8AEEED08-FCD3-D1D9-5B28-C0014E693349}" dt="2021-10-17T20:29:06.961" v="6037"/>
          <ac:graphicFrameMkLst>
            <pc:docMk/>
            <pc:sldMk cId="2465216555" sldId="329"/>
            <ac:graphicFrameMk id="4" creationId="{7926FD67-16D1-4884-886A-CAB3A7E07764}"/>
          </ac:graphicFrameMkLst>
        </pc:graphicFrameChg>
      </pc:sldChg>
      <pc:sldChg chg="addSp modSp new del">
        <pc:chgData name="XingYifan" userId="S::yifan.xing@fs-students.de::ec0b773b-020c-4ca1-9a1f-a4f9c5eab3ae" providerId="AD" clId="Web-{8AEEED08-FCD3-D1D9-5B28-C0014E693349}" dt="2021-10-17T20:38:10.555" v="6215"/>
        <pc:sldMkLst>
          <pc:docMk/>
          <pc:sldMk cId="1823075408" sldId="330"/>
        </pc:sldMkLst>
        <pc:spChg chg="mod">
          <ac:chgData name="XingYifan" userId="S::yifan.xing@fs-students.de::ec0b773b-020c-4ca1-9a1f-a4f9c5eab3ae" providerId="AD" clId="Web-{8AEEED08-FCD3-D1D9-5B28-C0014E693349}" dt="2021-10-17T15:24:27.832" v="4376" actId="1076"/>
          <ac:spMkLst>
            <pc:docMk/>
            <pc:sldMk cId="1823075408" sldId="330"/>
            <ac:spMk id="2" creationId="{6D6D4726-5818-4705-BBAF-AF8775D02F9E}"/>
          </ac:spMkLst>
        </pc:spChg>
        <pc:spChg chg="add mod">
          <ac:chgData name="XingYifan" userId="S::yifan.xing@fs-students.de::ec0b773b-020c-4ca1-9a1f-a4f9c5eab3ae" providerId="AD" clId="Web-{8AEEED08-FCD3-D1D9-5B28-C0014E693349}" dt="2021-10-17T18:24:49.482" v="4853" actId="1076"/>
          <ac:spMkLst>
            <pc:docMk/>
            <pc:sldMk cId="1823075408" sldId="330"/>
            <ac:spMk id="3" creationId="{B80FEB98-E7E0-4F18-ACF6-9173B6C5ABF4}"/>
          </ac:spMkLst>
        </pc:spChg>
        <pc:spChg chg="add mod">
          <ac:chgData name="XingYifan" userId="S::yifan.xing@fs-students.de::ec0b773b-020c-4ca1-9a1f-a4f9c5eab3ae" providerId="AD" clId="Web-{8AEEED08-FCD3-D1D9-5B28-C0014E693349}" dt="2021-10-17T18:24:51.419" v="4854" actId="1076"/>
          <ac:spMkLst>
            <pc:docMk/>
            <pc:sldMk cId="1823075408" sldId="330"/>
            <ac:spMk id="4" creationId="{F89163D3-A75E-49C4-9A65-6ABCD5BAA97F}"/>
          </ac:spMkLst>
        </pc:spChg>
        <pc:spChg chg="add mod">
          <ac:chgData name="XingYifan" userId="S::yifan.xing@fs-students.de::ec0b773b-020c-4ca1-9a1f-a4f9c5eab3ae" providerId="AD" clId="Web-{8AEEED08-FCD3-D1D9-5B28-C0014E693349}" dt="2021-10-17T18:24:53.591" v="4855" actId="1076"/>
          <ac:spMkLst>
            <pc:docMk/>
            <pc:sldMk cId="1823075408" sldId="330"/>
            <ac:spMk id="5" creationId="{A95EA7C9-B386-41A6-8796-7B1BCA9EB798}"/>
          </ac:spMkLst>
        </pc:spChg>
        <pc:spChg chg="add mod">
          <ac:chgData name="XingYifan" userId="S::yifan.xing@fs-students.de::ec0b773b-020c-4ca1-9a1f-a4f9c5eab3ae" providerId="AD" clId="Web-{8AEEED08-FCD3-D1D9-5B28-C0014E693349}" dt="2021-10-17T18:25:56.078" v="4898" actId="20577"/>
          <ac:spMkLst>
            <pc:docMk/>
            <pc:sldMk cId="1823075408" sldId="330"/>
            <ac:spMk id="6" creationId="{10FF810B-095F-4DC5-8FE2-0150A4C56261}"/>
          </ac:spMkLst>
        </pc:spChg>
      </pc:sldChg>
      <pc:sldChg chg="addSp delSp modSp new modNotes">
        <pc:chgData name="XingYifan" userId="S::yifan.xing@fs-students.de::ec0b773b-020c-4ca1-9a1f-a4f9c5eab3ae" providerId="AD" clId="Web-{8AEEED08-FCD3-D1D9-5B28-C0014E693349}" dt="2021-10-18T20:07:33.928" v="8797" actId="20577"/>
        <pc:sldMkLst>
          <pc:docMk/>
          <pc:sldMk cId="1300532342" sldId="331"/>
        </pc:sldMkLst>
        <pc:spChg chg="mod">
          <ac:chgData name="XingYifan" userId="S::yifan.xing@fs-students.de::ec0b773b-020c-4ca1-9a1f-a4f9c5eab3ae" providerId="AD" clId="Web-{8AEEED08-FCD3-D1D9-5B28-C0014E693349}" dt="2021-10-17T19:36:30.260" v="5142" actId="14100"/>
          <ac:spMkLst>
            <pc:docMk/>
            <pc:sldMk cId="1300532342" sldId="331"/>
            <ac:spMk id="2" creationId="{B5867E0B-D522-4668-85FD-8C17EAD774BC}"/>
          </ac:spMkLst>
        </pc:spChg>
        <pc:spChg chg="add del mod">
          <ac:chgData name="XingYifan" userId="S::yifan.xing@fs-students.de::ec0b773b-020c-4ca1-9a1f-a4f9c5eab3ae" providerId="AD" clId="Web-{8AEEED08-FCD3-D1D9-5B28-C0014E693349}" dt="2021-10-17T19:36:34.400" v="5143"/>
          <ac:spMkLst>
            <pc:docMk/>
            <pc:sldMk cId="1300532342" sldId="331"/>
            <ac:spMk id="3" creationId="{4A0B5B79-F5FE-4101-B2B4-3871E6E74E93}"/>
          </ac:spMkLst>
        </pc:spChg>
        <pc:spChg chg="add mod">
          <ac:chgData name="XingYifan" userId="S::yifan.xing@fs-students.de::ec0b773b-020c-4ca1-9a1f-a4f9c5eab3ae" providerId="AD" clId="Web-{8AEEED08-FCD3-D1D9-5B28-C0014E693349}" dt="2021-10-18T14:29:04.346" v="8589" actId="1076"/>
          <ac:spMkLst>
            <pc:docMk/>
            <pc:sldMk cId="1300532342" sldId="331"/>
            <ac:spMk id="3" creationId="{E6F8F4B6-A847-4EEE-B87F-AAD1192EFCE7}"/>
          </ac:spMkLst>
        </pc:spChg>
        <pc:spChg chg="add del mod">
          <ac:chgData name="XingYifan" userId="S::yifan.xing@fs-students.de::ec0b773b-020c-4ca1-9a1f-a4f9c5eab3ae" providerId="AD" clId="Web-{8AEEED08-FCD3-D1D9-5B28-C0014E693349}" dt="2021-10-17T20:38:38.227" v="6217"/>
          <ac:spMkLst>
            <pc:docMk/>
            <pc:sldMk cId="1300532342" sldId="331"/>
            <ac:spMk id="4" creationId="{5F8E816C-BDB3-4030-9CF4-9E9217961CD2}"/>
          </ac:spMkLst>
        </pc:spChg>
        <pc:spChg chg="add del mod">
          <ac:chgData name="XingYifan" userId="S::yifan.xing@fs-students.de::ec0b773b-020c-4ca1-9a1f-a4f9c5eab3ae" providerId="AD" clId="Web-{8AEEED08-FCD3-D1D9-5B28-C0014E693349}" dt="2021-10-17T20:28:15.726" v="6035"/>
          <ac:spMkLst>
            <pc:docMk/>
            <pc:sldMk cId="1300532342" sldId="331"/>
            <ac:spMk id="5" creationId="{330E87E5-1B22-4364-9075-A2F9E7BCFAD8}"/>
          </ac:spMkLst>
        </pc:spChg>
        <pc:spChg chg="add del mod">
          <ac:chgData name="XingYifan" userId="S::yifan.xing@fs-students.de::ec0b773b-020c-4ca1-9a1f-a4f9c5eab3ae" providerId="AD" clId="Web-{8AEEED08-FCD3-D1D9-5B28-C0014E693349}" dt="2021-10-17T20:09:43.312" v="5448"/>
          <ac:spMkLst>
            <pc:docMk/>
            <pc:sldMk cId="1300532342" sldId="331"/>
            <ac:spMk id="6" creationId="{ECB72CB8-6DD3-4FB6-B26A-288FC16AC806}"/>
          </ac:spMkLst>
        </pc:spChg>
        <pc:spChg chg="add del mod">
          <ac:chgData name="XingYifan" userId="S::yifan.xing@fs-students.de::ec0b773b-020c-4ca1-9a1f-a4f9c5eab3ae" providerId="AD" clId="Web-{8AEEED08-FCD3-D1D9-5B28-C0014E693349}" dt="2021-10-17T20:38:49.368" v="6220"/>
          <ac:spMkLst>
            <pc:docMk/>
            <pc:sldMk cId="1300532342" sldId="331"/>
            <ac:spMk id="7" creationId="{9CEB6606-C323-4E1E-B383-1B4DA5582C00}"/>
          </ac:spMkLst>
        </pc:spChg>
        <pc:spChg chg="add del mod">
          <ac:chgData name="XingYifan" userId="S::yifan.xing@fs-students.de::ec0b773b-020c-4ca1-9a1f-a4f9c5eab3ae" providerId="AD" clId="Web-{8AEEED08-FCD3-D1D9-5B28-C0014E693349}" dt="2021-10-18T13:42:41.473" v="8020"/>
          <ac:spMkLst>
            <pc:docMk/>
            <pc:sldMk cId="1300532342" sldId="331"/>
            <ac:spMk id="7" creationId="{CBD458F9-7CC2-4523-B045-234475A152A7}"/>
          </ac:spMkLst>
        </pc:spChg>
        <pc:spChg chg="add del mod">
          <ac:chgData name="XingYifan" userId="S::yifan.xing@fs-students.de::ec0b773b-020c-4ca1-9a1f-a4f9c5eab3ae" providerId="AD" clId="Web-{8AEEED08-FCD3-D1D9-5B28-C0014E693349}" dt="2021-10-18T12:58:23.069" v="7489"/>
          <ac:spMkLst>
            <pc:docMk/>
            <pc:sldMk cId="1300532342" sldId="331"/>
            <ac:spMk id="8" creationId="{6922D496-3211-4A3E-8D55-6A41468A9987}"/>
          </ac:spMkLst>
        </pc:spChg>
        <pc:spChg chg="add del mod">
          <ac:chgData name="XingYifan" userId="S::yifan.xing@fs-students.de::ec0b773b-020c-4ca1-9a1f-a4f9c5eab3ae" providerId="AD" clId="Web-{8AEEED08-FCD3-D1D9-5B28-C0014E693349}" dt="2021-10-18T13:30:13.913" v="7925"/>
          <ac:spMkLst>
            <pc:docMk/>
            <pc:sldMk cId="1300532342" sldId="331"/>
            <ac:spMk id="9" creationId="{9A5C25F6-C694-4666-B0EC-2B6129F59C0C}"/>
          </ac:spMkLst>
        </pc:spChg>
        <pc:spChg chg="add del mod">
          <ac:chgData name="XingYifan" userId="S::yifan.xing@fs-students.de::ec0b773b-020c-4ca1-9a1f-a4f9c5eab3ae" providerId="AD" clId="Web-{8AEEED08-FCD3-D1D9-5B28-C0014E693349}" dt="2021-10-18T12:47:17.793" v="7193"/>
          <ac:spMkLst>
            <pc:docMk/>
            <pc:sldMk cId="1300532342" sldId="331"/>
            <ac:spMk id="10" creationId="{F47EA0D7-341E-452B-8E96-C55C7585878D}"/>
          </ac:spMkLst>
        </pc:spChg>
        <pc:spChg chg="add del mod">
          <ac:chgData name="XingYifan" userId="S::yifan.xing@fs-students.de::ec0b773b-020c-4ca1-9a1f-a4f9c5eab3ae" providerId="AD" clId="Web-{8AEEED08-FCD3-D1D9-5B28-C0014E693349}" dt="2021-10-18T13:30:17.741" v="7926"/>
          <ac:spMkLst>
            <pc:docMk/>
            <pc:sldMk cId="1300532342" sldId="331"/>
            <ac:spMk id="11" creationId="{8FB146E3-B903-4B85-A96A-C9487C4DC3DD}"/>
          </ac:spMkLst>
        </pc:spChg>
        <pc:spChg chg="add del mod">
          <ac:chgData name="XingYifan" userId="S::yifan.xing@fs-students.de::ec0b773b-020c-4ca1-9a1f-a4f9c5eab3ae" providerId="AD" clId="Web-{8AEEED08-FCD3-D1D9-5B28-C0014E693349}" dt="2021-10-18T13:24:58.846" v="7761"/>
          <ac:spMkLst>
            <pc:docMk/>
            <pc:sldMk cId="1300532342" sldId="331"/>
            <ac:spMk id="12" creationId="{CE954204-17DF-4DAB-A10A-8A9BABE52F02}"/>
          </ac:spMkLst>
        </pc:spChg>
        <pc:spChg chg="add mod">
          <ac:chgData name="XingYifan" userId="S::yifan.xing@fs-students.de::ec0b773b-020c-4ca1-9a1f-a4f9c5eab3ae" providerId="AD" clId="Web-{8AEEED08-FCD3-D1D9-5B28-C0014E693349}" dt="2021-10-18T20:07:33.928" v="8797" actId="20577"/>
          <ac:spMkLst>
            <pc:docMk/>
            <pc:sldMk cId="1300532342" sldId="331"/>
            <ac:spMk id="14" creationId="{8C4F134B-85CD-427D-AD2D-E75C532E35C7}"/>
          </ac:spMkLst>
        </pc:spChg>
        <pc:spChg chg="add mod">
          <ac:chgData name="XingYifan" userId="S::yifan.xing@fs-students.de::ec0b773b-020c-4ca1-9a1f-a4f9c5eab3ae" providerId="AD" clId="Web-{8AEEED08-FCD3-D1D9-5B28-C0014E693349}" dt="2021-10-18T14:22:47.351" v="8334" actId="20577"/>
          <ac:spMkLst>
            <pc:docMk/>
            <pc:sldMk cId="1300532342" sldId="331"/>
            <ac:spMk id="17" creationId="{76FF0807-2A15-46B2-8431-AF3AB38C4DFB}"/>
          </ac:spMkLst>
        </pc:spChg>
        <pc:graphicFrameChg chg="add del mod modGraphic">
          <ac:chgData name="XingYifan" userId="S::yifan.xing@fs-students.de::ec0b773b-020c-4ca1-9a1f-a4f9c5eab3ae" providerId="AD" clId="Web-{8AEEED08-FCD3-D1D9-5B28-C0014E693349}" dt="2021-10-18T13:41:19.409" v="7971"/>
          <ac:graphicFrameMkLst>
            <pc:docMk/>
            <pc:sldMk cId="1300532342" sldId="331"/>
            <ac:graphicFrameMk id="16" creationId="{44EF32D2-6918-4840-9EEA-2D5AA689F62C}"/>
          </ac:graphicFrameMkLst>
        </pc:graphicFrameChg>
        <pc:picChg chg="add del mod">
          <ac:chgData name="XingYifan" userId="S::yifan.xing@fs-students.de::ec0b773b-020c-4ca1-9a1f-a4f9c5eab3ae" providerId="AD" clId="Web-{8AEEED08-FCD3-D1D9-5B28-C0014E693349}" dt="2021-10-18T12:28:57.228" v="7099"/>
          <ac:picMkLst>
            <pc:docMk/>
            <pc:sldMk cId="1300532342" sldId="331"/>
            <ac:picMk id="4" creationId="{5A3469EF-6F68-4B12-BF09-479D077F4D6C}"/>
          </ac:picMkLst>
        </pc:picChg>
        <pc:picChg chg="add del mod">
          <ac:chgData name="XingYifan" userId="S::yifan.xing@fs-students.de::ec0b773b-020c-4ca1-9a1f-a4f9c5eab3ae" providerId="AD" clId="Web-{8AEEED08-FCD3-D1D9-5B28-C0014E693349}" dt="2021-10-18T20:03:37.937" v="8791"/>
          <ac:picMkLst>
            <pc:docMk/>
            <pc:sldMk cId="1300532342" sldId="331"/>
            <ac:picMk id="4" creationId="{F1BFDA34-0D71-4E68-8DCC-91B63A19E6E7}"/>
          </ac:picMkLst>
        </pc:picChg>
        <pc:picChg chg="add mod">
          <ac:chgData name="XingYifan" userId="S::yifan.xing@fs-students.de::ec0b773b-020c-4ca1-9a1f-a4f9c5eab3ae" providerId="AD" clId="Web-{8AEEED08-FCD3-D1D9-5B28-C0014E693349}" dt="2021-10-18T19:54:04.811" v="8788" actId="1076"/>
          <ac:picMkLst>
            <pc:docMk/>
            <pc:sldMk cId="1300532342" sldId="331"/>
            <ac:picMk id="5" creationId="{3E8B3783-FBFD-40CE-9FB8-781CACAD6FC1}"/>
          </ac:picMkLst>
        </pc:picChg>
        <pc:picChg chg="add mod">
          <ac:chgData name="XingYifan" userId="S::yifan.xing@fs-students.de::ec0b773b-020c-4ca1-9a1f-a4f9c5eab3ae" providerId="AD" clId="Web-{8AEEED08-FCD3-D1D9-5B28-C0014E693349}" dt="2021-10-18T19:52:38.778" v="8785" actId="1076"/>
          <ac:picMkLst>
            <pc:docMk/>
            <pc:sldMk cId="1300532342" sldId="331"/>
            <ac:picMk id="6" creationId="{A0887C19-93C4-4981-9C4C-EFBC30CAFE8E}"/>
          </ac:picMkLst>
        </pc:picChg>
        <pc:picChg chg="add mod">
          <ac:chgData name="XingYifan" userId="S::yifan.xing@fs-students.de::ec0b773b-020c-4ca1-9a1f-a4f9c5eab3ae" providerId="AD" clId="Web-{8AEEED08-FCD3-D1D9-5B28-C0014E693349}" dt="2021-10-18T19:54:05.890" v="8789" actId="1076"/>
          <ac:picMkLst>
            <pc:docMk/>
            <pc:sldMk cId="1300532342" sldId="331"/>
            <ac:picMk id="7" creationId="{682552CF-7E96-420E-8C71-62C3878B4904}"/>
          </ac:picMkLst>
        </pc:picChg>
        <pc:picChg chg="add mod">
          <ac:chgData name="XingYifan" userId="S::yifan.xing@fs-students.de::ec0b773b-020c-4ca1-9a1f-a4f9c5eab3ae" providerId="AD" clId="Web-{8AEEED08-FCD3-D1D9-5B28-C0014E693349}" dt="2021-10-18T20:03:44.141" v="8794" actId="14100"/>
          <ac:picMkLst>
            <pc:docMk/>
            <pc:sldMk cId="1300532342" sldId="331"/>
            <ac:picMk id="8" creationId="{0BD3B605-F525-4060-BBD5-72F5DCE71140}"/>
          </ac:picMkLst>
        </pc:picChg>
        <pc:picChg chg="add del mod">
          <ac:chgData name="XingYifan" userId="S::yifan.xing@fs-students.de::ec0b773b-020c-4ca1-9a1f-a4f9c5eab3ae" providerId="AD" clId="Web-{8AEEED08-FCD3-D1D9-5B28-C0014E693349}" dt="2021-10-18T12:27:53.712" v="7085"/>
          <ac:picMkLst>
            <pc:docMk/>
            <pc:sldMk cId="1300532342" sldId="331"/>
            <ac:picMk id="13" creationId="{35F6D254-76E2-4A71-84F1-866DD2661851}"/>
          </ac:picMkLst>
        </pc:picChg>
      </pc:sldChg>
      <pc:sldChg chg="addSp modSp new del mod modClrScheme chgLayout">
        <pc:chgData name="XingYifan" userId="S::yifan.xing@fs-students.de::ec0b773b-020c-4ca1-9a1f-a4f9c5eab3ae" providerId="AD" clId="Web-{8AEEED08-FCD3-D1D9-5B28-C0014E693349}" dt="2021-10-17T15:34:19.679" v="4540"/>
        <pc:sldMkLst>
          <pc:docMk/>
          <pc:sldMk cId="3798976959" sldId="331"/>
        </pc:sldMkLst>
        <pc:spChg chg="add mod ord">
          <ac:chgData name="XingYifan" userId="S::yifan.xing@fs-students.de::ec0b773b-020c-4ca1-9a1f-a4f9c5eab3ae" providerId="AD" clId="Web-{8AEEED08-FCD3-D1D9-5B28-C0014E693349}" dt="2021-10-17T15:27:54.625" v="4432"/>
          <ac:spMkLst>
            <pc:docMk/>
            <pc:sldMk cId="3798976959" sldId="331"/>
            <ac:spMk id="2" creationId="{60354D4B-F0E6-4CB8-AE08-822F562BC380}"/>
          </ac:spMkLst>
        </pc:spChg>
        <pc:spChg chg="add mod ord">
          <ac:chgData name="XingYifan" userId="S::yifan.xing@fs-students.de::ec0b773b-020c-4ca1-9a1f-a4f9c5eab3ae" providerId="AD" clId="Web-{8AEEED08-FCD3-D1D9-5B28-C0014E693349}" dt="2021-10-17T15:34:06.522" v="4539" actId="20577"/>
          <ac:spMkLst>
            <pc:docMk/>
            <pc:sldMk cId="3798976959" sldId="331"/>
            <ac:spMk id="3" creationId="{140D4C74-1A1C-4C65-A4A3-974F0018DDCD}"/>
          </ac:spMkLst>
        </pc:spChg>
      </pc:sldChg>
      <pc:sldChg chg="addSp delSp modSp new modNotes">
        <pc:chgData name="XingYifan" userId="S::yifan.xing@fs-students.de::ec0b773b-020c-4ca1-9a1f-a4f9c5eab3ae" providerId="AD" clId="Web-{8AEEED08-FCD3-D1D9-5B28-C0014E693349}" dt="2021-10-18T13:54:18.328" v="8173" actId="1076"/>
        <pc:sldMkLst>
          <pc:docMk/>
          <pc:sldMk cId="907296020" sldId="332"/>
        </pc:sldMkLst>
        <pc:spChg chg="mod">
          <ac:chgData name="XingYifan" userId="S::yifan.xing@fs-students.de::ec0b773b-020c-4ca1-9a1f-a4f9c5eab3ae" providerId="AD" clId="Web-{8AEEED08-FCD3-D1D9-5B28-C0014E693349}" dt="2021-10-17T20:41:17.623" v="6246" actId="20577"/>
          <ac:spMkLst>
            <pc:docMk/>
            <pc:sldMk cId="907296020" sldId="332"/>
            <ac:spMk id="2" creationId="{1118C329-3BEA-4644-A26E-2BA2638F4DA1}"/>
          </ac:spMkLst>
        </pc:spChg>
        <pc:spChg chg="add del mod">
          <ac:chgData name="XingYifan" userId="S::yifan.xing@fs-students.de::ec0b773b-020c-4ca1-9a1f-a4f9c5eab3ae" providerId="AD" clId="Web-{8AEEED08-FCD3-D1D9-5B28-C0014E693349}" dt="2021-10-17T20:24:38.783" v="5957"/>
          <ac:spMkLst>
            <pc:docMk/>
            <pc:sldMk cId="907296020" sldId="332"/>
            <ac:spMk id="3" creationId="{79A6B822-B007-4EFF-A4DC-384056A5754F}"/>
          </ac:spMkLst>
        </pc:spChg>
        <pc:spChg chg="add mod">
          <ac:chgData name="XingYifan" userId="S::yifan.xing@fs-students.de::ec0b773b-020c-4ca1-9a1f-a4f9c5eab3ae" providerId="AD" clId="Web-{8AEEED08-FCD3-D1D9-5B28-C0014E693349}" dt="2021-10-18T13:54:18.328" v="8173" actId="1076"/>
          <ac:spMkLst>
            <pc:docMk/>
            <pc:sldMk cId="907296020" sldId="332"/>
            <ac:spMk id="4" creationId="{20CF8702-D41A-4F25-8BBE-3D2C1BF1674E}"/>
          </ac:spMkLst>
        </pc:spChg>
      </pc:sldChg>
      <pc:sldChg chg="addSp modSp new modNotes">
        <pc:chgData name="XingYifan" userId="S::yifan.xing@fs-students.de::ec0b773b-020c-4ca1-9a1f-a4f9c5eab3ae" providerId="AD" clId="Web-{8AEEED08-FCD3-D1D9-5B28-C0014E693349}" dt="2021-10-18T19:52:04.183" v="8782" actId="20577"/>
        <pc:sldMkLst>
          <pc:docMk/>
          <pc:sldMk cId="2402101022" sldId="333"/>
        </pc:sldMkLst>
        <pc:spChg chg="mod">
          <ac:chgData name="XingYifan" userId="S::yifan.xing@fs-students.de::ec0b773b-020c-4ca1-9a1f-a4f9c5eab3ae" providerId="AD" clId="Web-{8AEEED08-FCD3-D1D9-5B28-C0014E693349}" dt="2021-10-17T20:41:35.264" v="6258" actId="20577"/>
          <ac:spMkLst>
            <pc:docMk/>
            <pc:sldMk cId="2402101022" sldId="333"/>
            <ac:spMk id="2" creationId="{8D696EEE-8969-4692-8373-B0207D6E30C9}"/>
          </ac:spMkLst>
        </pc:spChg>
        <pc:spChg chg="add mod">
          <ac:chgData name="XingYifan" userId="S::yifan.xing@fs-students.de::ec0b773b-020c-4ca1-9a1f-a4f9c5eab3ae" providerId="AD" clId="Web-{8AEEED08-FCD3-D1D9-5B28-C0014E693349}" dt="2021-10-18T19:52:04.183" v="8782" actId="20577"/>
          <ac:spMkLst>
            <pc:docMk/>
            <pc:sldMk cId="2402101022" sldId="333"/>
            <ac:spMk id="3" creationId="{E2E31CAE-C98F-49CB-8B4A-02D7E39ABA8E}"/>
          </ac:spMkLst>
        </pc:spChg>
      </pc:sldChg>
      <pc:sldChg chg="addSp delSp modSp new modNotes">
        <pc:chgData name="XingYifan" userId="S::yifan.xing@fs-students.de::ec0b773b-020c-4ca1-9a1f-a4f9c5eab3ae" providerId="AD" clId="Web-{8AEEED08-FCD3-D1D9-5B28-C0014E693349}" dt="2021-10-18T15:35:26.504" v="8731"/>
        <pc:sldMkLst>
          <pc:docMk/>
          <pc:sldMk cId="2715225839" sldId="334"/>
        </pc:sldMkLst>
        <pc:spChg chg="del">
          <ac:chgData name="XingYifan" userId="S::yifan.xing@fs-students.de::ec0b773b-020c-4ca1-9a1f-a4f9c5eab3ae" providerId="AD" clId="Web-{8AEEED08-FCD3-D1D9-5B28-C0014E693349}" dt="2021-10-18T13:42:48.613" v="8023"/>
          <ac:spMkLst>
            <pc:docMk/>
            <pc:sldMk cId="2715225839" sldId="334"/>
            <ac:spMk id="2" creationId="{7AC8725B-B51F-4623-8845-F6338AF103E2}"/>
          </ac:spMkLst>
        </pc:spChg>
        <pc:spChg chg="add mod">
          <ac:chgData name="XingYifan" userId="S::yifan.xing@fs-students.de::ec0b773b-020c-4ca1-9a1f-a4f9c5eab3ae" providerId="AD" clId="Web-{8AEEED08-FCD3-D1D9-5B28-C0014E693349}" dt="2021-10-18T14:29:53.506" v="8628" actId="20577"/>
          <ac:spMkLst>
            <pc:docMk/>
            <pc:sldMk cId="2715225839" sldId="334"/>
            <ac:spMk id="5" creationId="{01A35D22-FD8B-4B43-8785-196E80636E06}"/>
          </ac:spMkLst>
        </pc:spChg>
        <pc:graphicFrameChg chg="add mod modGraphic">
          <ac:chgData name="XingYifan" userId="S::yifan.xing@fs-students.de::ec0b773b-020c-4ca1-9a1f-a4f9c5eab3ae" providerId="AD" clId="Web-{8AEEED08-FCD3-D1D9-5B28-C0014E693349}" dt="2021-10-18T13:43:21.926" v="8031" actId="1076"/>
          <ac:graphicFrameMkLst>
            <pc:docMk/>
            <pc:sldMk cId="2715225839" sldId="334"/>
            <ac:graphicFrameMk id="4" creationId="{519A680B-E307-47AD-9BC1-39033AA5C45A}"/>
          </ac:graphicFrameMkLst>
        </pc:graphicFrameChg>
      </pc:sldChg>
    </pc:docChg>
  </pc:docChgLst>
  <pc:docChgLst>
    <pc:chgData name="Xuxin Tan" userId="S::xuxin.tan@fs-students.de::20e48cba-d982-468b-be47-641cf873d401" providerId="AD" clId="Web-{8E73CD69-F913-1C2C-B3FD-7A84966433A8}"/>
    <pc:docChg chg="modSld">
      <pc:chgData name="Xuxin Tan" userId="S::xuxin.tan@fs-students.de::20e48cba-d982-468b-be47-641cf873d401" providerId="AD" clId="Web-{8E73CD69-F913-1C2C-B3FD-7A84966433A8}" dt="2021-10-19T17:59:42.753" v="12" actId="20577"/>
      <pc:docMkLst>
        <pc:docMk/>
      </pc:docMkLst>
      <pc:sldChg chg="modSp">
        <pc:chgData name="Xuxin Tan" userId="S::xuxin.tan@fs-students.de::20e48cba-d982-468b-be47-641cf873d401" providerId="AD" clId="Web-{8E73CD69-F913-1C2C-B3FD-7A84966433A8}" dt="2021-10-19T17:59:42.753" v="12" actId="20577"/>
        <pc:sldMkLst>
          <pc:docMk/>
          <pc:sldMk cId="4276621269" sldId="312"/>
        </pc:sldMkLst>
        <pc:spChg chg="mod">
          <ac:chgData name="Xuxin Tan" userId="S::xuxin.tan@fs-students.de::20e48cba-d982-468b-be47-641cf873d401" providerId="AD" clId="Web-{8E73CD69-F913-1C2C-B3FD-7A84966433A8}" dt="2021-10-19T17:59:42.753" v="12" actId="20577"/>
          <ac:spMkLst>
            <pc:docMk/>
            <pc:sldMk cId="4276621269" sldId="312"/>
            <ac:spMk id="8" creationId="{E45C4B50-56CA-4F24-9DAC-E10D7B0E27C4}"/>
          </ac:spMkLst>
        </pc:spChg>
      </pc:sldChg>
    </pc:docChg>
  </pc:docChgLst>
  <pc:docChgLst>
    <pc:chgData name="XingYifan" userId="S::yifan.xing@fs-students.de::ec0b773b-020c-4ca1-9a1f-a4f9c5eab3ae" providerId="AD" clId="Web-{D7EBF33B-AA59-0DE3-99EB-A412B57F221A}"/>
    <pc:docChg chg="modSld">
      <pc:chgData name="XingYifan" userId="S::yifan.xing@fs-students.de::ec0b773b-020c-4ca1-9a1f-a4f9c5eab3ae" providerId="AD" clId="Web-{D7EBF33B-AA59-0DE3-99EB-A412B57F221A}" dt="2021-10-19T12:59:50.714" v="126" actId="1076"/>
      <pc:docMkLst>
        <pc:docMk/>
      </pc:docMkLst>
      <pc:sldChg chg="modSp">
        <pc:chgData name="XingYifan" userId="S::yifan.xing@fs-students.de::ec0b773b-020c-4ca1-9a1f-a4f9c5eab3ae" providerId="AD" clId="Web-{D7EBF33B-AA59-0DE3-99EB-A412B57F221A}" dt="2021-10-19T12:58:12.524" v="114" actId="20577"/>
        <pc:sldMkLst>
          <pc:docMk/>
          <pc:sldMk cId="2162620498" sldId="327"/>
        </pc:sldMkLst>
        <pc:spChg chg="mod">
          <ac:chgData name="XingYifan" userId="S::yifan.xing@fs-students.de::ec0b773b-020c-4ca1-9a1f-a4f9c5eab3ae" providerId="AD" clId="Web-{D7EBF33B-AA59-0DE3-99EB-A412B57F221A}" dt="2021-10-19T12:58:12.524" v="114" actId="20577"/>
          <ac:spMkLst>
            <pc:docMk/>
            <pc:sldMk cId="2162620498" sldId="327"/>
            <ac:spMk id="3" creationId="{F89D7F64-198B-4936-B681-D6066F272A9A}"/>
          </ac:spMkLst>
        </pc:spChg>
        <pc:spChg chg="mod">
          <ac:chgData name="XingYifan" userId="S::yifan.xing@fs-students.de::ec0b773b-020c-4ca1-9a1f-a4f9c5eab3ae" providerId="AD" clId="Web-{D7EBF33B-AA59-0DE3-99EB-A412B57F221A}" dt="2021-10-19T12:58:04.462" v="111" actId="20577"/>
          <ac:spMkLst>
            <pc:docMk/>
            <pc:sldMk cId="2162620498" sldId="327"/>
            <ac:spMk id="4" creationId="{B24CEA83-3EDA-4925-92BF-C5C8D0A4BEA0}"/>
          </ac:spMkLst>
        </pc:spChg>
        <pc:spChg chg="mod">
          <ac:chgData name="XingYifan" userId="S::yifan.xing@fs-students.de::ec0b773b-020c-4ca1-9a1f-a4f9c5eab3ae" providerId="AD" clId="Web-{D7EBF33B-AA59-0DE3-99EB-A412B57F221A}" dt="2021-10-19T12:49:14.260" v="8" actId="20577"/>
          <ac:spMkLst>
            <pc:docMk/>
            <pc:sldMk cId="2162620498" sldId="327"/>
            <ac:spMk id="8" creationId="{B893367A-DE2A-4596-8943-1B4D9F17ADE5}"/>
          </ac:spMkLst>
        </pc:spChg>
        <pc:spChg chg="mod">
          <ac:chgData name="XingYifan" userId="S::yifan.xing@fs-students.de::ec0b773b-020c-4ca1-9a1f-a4f9c5eab3ae" providerId="AD" clId="Web-{D7EBF33B-AA59-0DE3-99EB-A412B57F221A}" dt="2021-10-19T12:49:06.698" v="5" actId="20577"/>
          <ac:spMkLst>
            <pc:docMk/>
            <pc:sldMk cId="2162620498" sldId="327"/>
            <ac:spMk id="9" creationId="{61785E7A-F957-47BA-9863-7E4FA5F1870F}"/>
          </ac:spMkLst>
        </pc:spChg>
        <pc:picChg chg="mod">
          <ac:chgData name="XingYifan" userId="S::yifan.xing@fs-students.de::ec0b773b-020c-4ca1-9a1f-a4f9c5eab3ae" providerId="AD" clId="Web-{D7EBF33B-AA59-0DE3-99EB-A412B57F221A}" dt="2021-10-19T12:49:09.292" v="6" actId="1076"/>
          <ac:picMkLst>
            <pc:docMk/>
            <pc:sldMk cId="2162620498" sldId="327"/>
            <ac:picMk id="7" creationId="{5B97C1C5-64EB-434D-A496-E8C7E81ADE8A}"/>
          </ac:picMkLst>
        </pc:picChg>
      </pc:sldChg>
      <pc:sldChg chg="modSp">
        <pc:chgData name="XingYifan" userId="S::yifan.xing@fs-students.de::ec0b773b-020c-4ca1-9a1f-a4f9c5eab3ae" providerId="AD" clId="Web-{D7EBF33B-AA59-0DE3-99EB-A412B57F221A}" dt="2021-10-19T12:59:50.714" v="126" actId="1076"/>
        <pc:sldMkLst>
          <pc:docMk/>
          <pc:sldMk cId="1300532342" sldId="331"/>
        </pc:sldMkLst>
        <pc:spChg chg="mod">
          <ac:chgData name="XingYifan" userId="S::yifan.xing@fs-students.de::ec0b773b-020c-4ca1-9a1f-a4f9c5eab3ae" providerId="AD" clId="Web-{D7EBF33B-AA59-0DE3-99EB-A412B57F221A}" dt="2021-10-19T12:50:42.013" v="22" actId="20577"/>
          <ac:spMkLst>
            <pc:docMk/>
            <pc:sldMk cId="1300532342" sldId="331"/>
            <ac:spMk id="3" creationId="{E6F8F4B6-A847-4EEE-B87F-AAD1192EFCE7}"/>
          </ac:spMkLst>
        </pc:spChg>
        <pc:spChg chg="mod">
          <ac:chgData name="XingYifan" userId="S::yifan.xing@fs-students.de::ec0b773b-020c-4ca1-9a1f-a4f9c5eab3ae" providerId="AD" clId="Web-{D7EBF33B-AA59-0DE3-99EB-A412B57F221A}" dt="2021-10-19T12:50:53.654" v="24" actId="20577"/>
          <ac:spMkLst>
            <pc:docMk/>
            <pc:sldMk cId="1300532342" sldId="331"/>
            <ac:spMk id="14" creationId="{8C4F134B-85CD-427D-AD2D-E75C532E35C7}"/>
          </ac:spMkLst>
        </pc:spChg>
        <pc:spChg chg="mod">
          <ac:chgData name="XingYifan" userId="S::yifan.xing@fs-students.de::ec0b773b-020c-4ca1-9a1f-a4f9c5eab3ae" providerId="AD" clId="Web-{D7EBF33B-AA59-0DE3-99EB-A412B57F221A}" dt="2021-10-19T12:50:06.012" v="16" actId="20577"/>
          <ac:spMkLst>
            <pc:docMk/>
            <pc:sldMk cId="1300532342" sldId="331"/>
            <ac:spMk id="17" creationId="{76FF0807-2A15-46B2-8431-AF3AB38C4DFB}"/>
          </ac:spMkLst>
        </pc:spChg>
        <pc:picChg chg="mod">
          <ac:chgData name="XingYifan" userId="S::yifan.xing@fs-students.de::ec0b773b-020c-4ca1-9a1f-a4f9c5eab3ae" providerId="AD" clId="Web-{D7EBF33B-AA59-0DE3-99EB-A412B57F221A}" dt="2021-10-19T12:59:49.465" v="125" actId="1076"/>
          <ac:picMkLst>
            <pc:docMk/>
            <pc:sldMk cId="1300532342" sldId="331"/>
            <ac:picMk id="5" creationId="{3E8B3783-FBFD-40CE-9FB8-781CACAD6FC1}"/>
          </ac:picMkLst>
        </pc:picChg>
        <pc:picChg chg="mod">
          <ac:chgData name="XingYifan" userId="S::yifan.xing@fs-students.de::ec0b773b-020c-4ca1-9a1f-a4f9c5eab3ae" providerId="AD" clId="Web-{D7EBF33B-AA59-0DE3-99EB-A412B57F221A}" dt="2021-10-19T12:59:50.714" v="126" actId="1076"/>
          <ac:picMkLst>
            <pc:docMk/>
            <pc:sldMk cId="1300532342" sldId="331"/>
            <ac:picMk id="7" creationId="{682552CF-7E96-420E-8C71-62C3878B4904}"/>
          </ac:picMkLst>
        </pc:picChg>
      </pc:sldChg>
      <pc:sldChg chg="modSp">
        <pc:chgData name="XingYifan" userId="S::yifan.xing@fs-students.de::ec0b773b-020c-4ca1-9a1f-a4f9c5eab3ae" providerId="AD" clId="Web-{D7EBF33B-AA59-0DE3-99EB-A412B57F221A}" dt="2021-10-19T12:59:07.901" v="124" actId="20577"/>
        <pc:sldMkLst>
          <pc:docMk/>
          <pc:sldMk cId="907296020" sldId="332"/>
        </pc:sldMkLst>
        <pc:spChg chg="mod">
          <ac:chgData name="XingYifan" userId="S::yifan.xing@fs-students.de::ec0b773b-020c-4ca1-9a1f-a4f9c5eab3ae" providerId="AD" clId="Web-{D7EBF33B-AA59-0DE3-99EB-A412B57F221A}" dt="2021-10-19T12:59:07.901" v="124" actId="20577"/>
          <ac:spMkLst>
            <pc:docMk/>
            <pc:sldMk cId="907296020" sldId="332"/>
            <ac:spMk id="4" creationId="{20CF8702-D41A-4F25-8BBE-3D2C1BF1674E}"/>
          </ac:spMkLst>
        </pc:spChg>
      </pc:sldChg>
      <pc:sldChg chg="modSp">
        <pc:chgData name="XingYifan" userId="S::yifan.xing@fs-students.de::ec0b773b-020c-4ca1-9a1f-a4f9c5eab3ae" providerId="AD" clId="Web-{D7EBF33B-AA59-0DE3-99EB-A412B57F221A}" dt="2021-10-19T12:57:37.586" v="101" actId="20577"/>
        <pc:sldMkLst>
          <pc:docMk/>
          <pc:sldMk cId="2402101022" sldId="333"/>
        </pc:sldMkLst>
        <pc:spChg chg="mod">
          <ac:chgData name="XingYifan" userId="S::yifan.xing@fs-students.de::ec0b773b-020c-4ca1-9a1f-a4f9c5eab3ae" providerId="AD" clId="Web-{D7EBF33B-AA59-0DE3-99EB-A412B57F221A}" dt="2021-10-19T12:57:37.586" v="101" actId="20577"/>
          <ac:spMkLst>
            <pc:docMk/>
            <pc:sldMk cId="2402101022" sldId="333"/>
            <ac:spMk id="3" creationId="{E2E31CAE-C98F-49CB-8B4A-02D7E39ABA8E}"/>
          </ac:spMkLst>
        </pc:spChg>
      </pc:sldChg>
      <pc:sldChg chg="modSp">
        <pc:chgData name="XingYifan" userId="S::yifan.xing@fs-students.de::ec0b773b-020c-4ca1-9a1f-a4f9c5eab3ae" providerId="AD" clId="Web-{D7EBF33B-AA59-0DE3-99EB-A412B57F221A}" dt="2021-10-19T12:54:09.002" v="70" actId="20577"/>
        <pc:sldMkLst>
          <pc:docMk/>
          <pc:sldMk cId="2715225839" sldId="334"/>
        </pc:sldMkLst>
        <pc:spChg chg="mod">
          <ac:chgData name="XingYifan" userId="S::yifan.xing@fs-students.de::ec0b773b-020c-4ca1-9a1f-a4f9c5eab3ae" providerId="AD" clId="Web-{D7EBF33B-AA59-0DE3-99EB-A412B57F221A}" dt="2021-10-19T12:54:09.002" v="70" actId="20577"/>
          <ac:spMkLst>
            <pc:docMk/>
            <pc:sldMk cId="2715225839" sldId="334"/>
            <ac:spMk id="5" creationId="{01A35D22-FD8B-4B43-8785-196E80636E06}"/>
          </ac:spMkLst>
        </pc:spChg>
      </pc:sldChg>
    </pc:docChg>
  </pc:docChgLst>
  <pc:docChgLst>
    <pc:chgData name="Yudi Wang" userId="S::yudi.wang@fs-students.de::d6d3e1ff-7fbc-44f4-bef1-29aa738b3b63" providerId="AD" clId="Web-{5AEC8449-5BCE-4EDD-24E1-843FBA39EA78}"/>
    <pc:docChg chg="delSld modSld">
      <pc:chgData name="Yudi Wang" userId="S::yudi.wang@fs-students.de::d6d3e1ff-7fbc-44f4-bef1-29aa738b3b63" providerId="AD" clId="Web-{5AEC8449-5BCE-4EDD-24E1-843FBA39EA78}" dt="2021-10-20T15:06:53.742" v="776" actId="1076"/>
      <pc:docMkLst>
        <pc:docMk/>
      </pc:docMkLst>
      <pc:sldChg chg="modSp">
        <pc:chgData name="Yudi Wang" userId="S::yudi.wang@fs-students.de::d6d3e1ff-7fbc-44f4-bef1-29aa738b3b63" providerId="AD" clId="Web-{5AEC8449-5BCE-4EDD-24E1-843FBA39EA78}" dt="2021-10-20T13:16:07.717" v="372" actId="1076"/>
        <pc:sldMkLst>
          <pc:docMk/>
          <pc:sldMk cId="933643179" sldId="262"/>
        </pc:sldMkLst>
        <pc:spChg chg="mod">
          <ac:chgData name="Yudi Wang" userId="S::yudi.wang@fs-students.de::d6d3e1ff-7fbc-44f4-bef1-29aa738b3b63" providerId="AD" clId="Web-{5AEC8449-5BCE-4EDD-24E1-843FBA39EA78}" dt="2021-10-20T13:16:07.717" v="372" actId="1076"/>
          <ac:spMkLst>
            <pc:docMk/>
            <pc:sldMk cId="933643179" sldId="262"/>
            <ac:spMk id="2" creationId="{C0066270-25A3-492B-B1CD-ADABD7B17E05}"/>
          </ac:spMkLst>
        </pc:spChg>
      </pc:sldChg>
      <pc:sldChg chg="modSp">
        <pc:chgData name="Yudi Wang" userId="S::yudi.wang@fs-students.de::d6d3e1ff-7fbc-44f4-bef1-29aa738b3b63" providerId="AD" clId="Web-{5AEC8449-5BCE-4EDD-24E1-843FBA39EA78}" dt="2021-10-20T13:43:06.487" v="491" actId="20577"/>
        <pc:sldMkLst>
          <pc:docMk/>
          <pc:sldMk cId="1471037925" sldId="264"/>
        </pc:sldMkLst>
        <pc:spChg chg="mod">
          <ac:chgData name="Yudi Wang" userId="S::yudi.wang@fs-students.de::d6d3e1ff-7fbc-44f4-bef1-29aa738b3b63" providerId="AD" clId="Web-{5AEC8449-5BCE-4EDD-24E1-843FBA39EA78}" dt="2021-10-20T13:43:06.487" v="491" actId="20577"/>
          <ac:spMkLst>
            <pc:docMk/>
            <pc:sldMk cId="1471037925" sldId="264"/>
            <ac:spMk id="8" creationId="{ACEB79DF-3AAB-46EC-952C-7E091862C688}"/>
          </ac:spMkLst>
        </pc:spChg>
        <pc:graphicFrameChg chg="mod">
          <ac:chgData name="Yudi Wang" userId="S::yudi.wang@fs-students.de::d6d3e1ff-7fbc-44f4-bef1-29aa738b3b63" providerId="AD" clId="Web-{5AEC8449-5BCE-4EDD-24E1-843FBA39EA78}" dt="2021-10-20T13:31:17.725" v="421" actId="1076"/>
          <ac:graphicFrameMkLst>
            <pc:docMk/>
            <pc:sldMk cId="1471037925" sldId="264"/>
            <ac:graphicFrameMk id="2" creationId="{0ADCBCD8-6480-4A6B-8EBB-96F48644C21D}"/>
          </ac:graphicFrameMkLst>
        </pc:graphicFrameChg>
      </pc:sldChg>
      <pc:sldChg chg="modSp">
        <pc:chgData name="Yudi Wang" userId="S::yudi.wang@fs-students.de::d6d3e1ff-7fbc-44f4-bef1-29aa738b3b63" providerId="AD" clId="Web-{5AEC8449-5BCE-4EDD-24E1-843FBA39EA78}" dt="2021-10-20T12:16:53.377" v="15" actId="20577"/>
        <pc:sldMkLst>
          <pc:docMk/>
          <pc:sldMk cId="942637165" sldId="311"/>
        </pc:sldMkLst>
        <pc:spChg chg="mod">
          <ac:chgData name="Yudi Wang" userId="S::yudi.wang@fs-students.de::d6d3e1ff-7fbc-44f4-bef1-29aa738b3b63" providerId="AD" clId="Web-{5AEC8449-5BCE-4EDD-24E1-843FBA39EA78}" dt="2021-10-20T12:16:53.377" v="15" actId="20577"/>
          <ac:spMkLst>
            <pc:docMk/>
            <pc:sldMk cId="942637165" sldId="311"/>
            <ac:spMk id="16" creationId="{7B630D99-5317-410F-9E2A-F544221C8E1A}"/>
          </ac:spMkLst>
        </pc:spChg>
      </pc:sldChg>
      <pc:sldChg chg="modSp">
        <pc:chgData name="Yudi Wang" userId="S::yudi.wang@fs-students.de::d6d3e1ff-7fbc-44f4-bef1-29aa738b3b63" providerId="AD" clId="Web-{5AEC8449-5BCE-4EDD-24E1-843FBA39EA78}" dt="2021-10-20T12:48:52.696" v="134" actId="20577"/>
        <pc:sldMkLst>
          <pc:docMk/>
          <pc:sldMk cId="4276621269" sldId="312"/>
        </pc:sldMkLst>
        <pc:spChg chg="mod">
          <ac:chgData name="Yudi Wang" userId="S::yudi.wang@fs-students.de::d6d3e1ff-7fbc-44f4-bef1-29aa738b3b63" providerId="AD" clId="Web-{5AEC8449-5BCE-4EDD-24E1-843FBA39EA78}" dt="2021-10-20T12:48:52.696" v="134" actId="20577"/>
          <ac:spMkLst>
            <pc:docMk/>
            <pc:sldMk cId="4276621269" sldId="312"/>
            <ac:spMk id="8" creationId="{E45C4B50-56CA-4F24-9DAC-E10D7B0E27C4}"/>
          </ac:spMkLst>
        </pc:spChg>
      </pc:sldChg>
      <pc:sldChg chg="modSp">
        <pc:chgData name="Yudi Wang" userId="S::yudi.wang@fs-students.de::d6d3e1ff-7fbc-44f4-bef1-29aa738b3b63" providerId="AD" clId="Web-{5AEC8449-5BCE-4EDD-24E1-843FBA39EA78}" dt="2021-10-20T12:46:32.532" v="96" actId="20577"/>
        <pc:sldMkLst>
          <pc:docMk/>
          <pc:sldMk cId="3426313049" sldId="313"/>
        </pc:sldMkLst>
        <pc:spChg chg="mod">
          <ac:chgData name="Yudi Wang" userId="S::yudi.wang@fs-students.de::d6d3e1ff-7fbc-44f4-bef1-29aa738b3b63" providerId="AD" clId="Web-{5AEC8449-5BCE-4EDD-24E1-843FBA39EA78}" dt="2021-10-20T12:46:32.532" v="96" actId="20577"/>
          <ac:spMkLst>
            <pc:docMk/>
            <pc:sldMk cId="3426313049" sldId="313"/>
            <ac:spMk id="4" creationId="{B6BF43DD-77E7-4B58-8278-E897D0AF2C1F}"/>
          </ac:spMkLst>
        </pc:spChg>
      </pc:sldChg>
      <pc:sldChg chg="addSp modSp">
        <pc:chgData name="Yudi Wang" userId="S::yudi.wang@fs-students.de::d6d3e1ff-7fbc-44f4-bef1-29aa738b3b63" providerId="AD" clId="Web-{5AEC8449-5BCE-4EDD-24E1-843FBA39EA78}" dt="2021-10-20T13:28:54.045" v="407" actId="1076"/>
        <pc:sldMkLst>
          <pc:docMk/>
          <pc:sldMk cId="2469131820" sldId="314"/>
        </pc:sldMkLst>
        <pc:spChg chg="mod">
          <ac:chgData name="Yudi Wang" userId="S::yudi.wang@fs-students.de::d6d3e1ff-7fbc-44f4-bef1-29aa738b3b63" providerId="AD" clId="Web-{5AEC8449-5BCE-4EDD-24E1-843FBA39EA78}" dt="2021-10-20T12:54:41.592" v="189" actId="20577"/>
          <ac:spMkLst>
            <pc:docMk/>
            <pc:sldMk cId="2469131820" sldId="314"/>
            <ac:spMk id="4" creationId="{14C27AA5-F23F-4472-8BB5-152DA0709D9D}"/>
          </ac:spMkLst>
        </pc:spChg>
        <pc:spChg chg="mod">
          <ac:chgData name="Yudi Wang" userId="S::yudi.wang@fs-students.de::d6d3e1ff-7fbc-44f4-bef1-29aa738b3b63" providerId="AD" clId="Web-{5AEC8449-5BCE-4EDD-24E1-843FBA39EA78}" dt="2021-10-20T13:28:51.513" v="406" actId="1076"/>
          <ac:spMkLst>
            <pc:docMk/>
            <pc:sldMk cId="2469131820" sldId="314"/>
            <ac:spMk id="7" creationId="{83860292-1F05-4A57-882B-8A78216F11FF}"/>
          </ac:spMkLst>
        </pc:spChg>
        <pc:spChg chg="mod">
          <ac:chgData name="Yudi Wang" userId="S::yudi.wang@fs-students.de::d6d3e1ff-7fbc-44f4-bef1-29aa738b3b63" providerId="AD" clId="Web-{5AEC8449-5BCE-4EDD-24E1-843FBA39EA78}" dt="2021-10-20T13:28:10.292" v="398" actId="20577"/>
          <ac:spMkLst>
            <pc:docMk/>
            <pc:sldMk cId="2469131820" sldId="314"/>
            <ac:spMk id="9" creationId="{FE53DFC1-E809-4964-8447-D19B74AB7A22}"/>
          </ac:spMkLst>
        </pc:spChg>
        <pc:spChg chg="mod">
          <ac:chgData name="Yudi Wang" userId="S::yudi.wang@fs-students.de::d6d3e1ff-7fbc-44f4-bef1-29aa738b3b63" providerId="AD" clId="Web-{5AEC8449-5BCE-4EDD-24E1-843FBA39EA78}" dt="2021-10-20T13:28:43.247" v="405" actId="1076"/>
          <ac:spMkLst>
            <pc:docMk/>
            <pc:sldMk cId="2469131820" sldId="314"/>
            <ac:spMk id="10" creationId="{629F9040-FB99-4D99-A60D-05B834F42C14}"/>
          </ac:spMkLst>
        </pc:spChg>
        <pc:spChg chg="add mod">
          <ac:chgData name="Yudi Wang" userId="S::yudi.wang@fs-students.de::d6d3e1ff-7fbc-44f4-bef1-29aa738b3b63" providerId="AD" clId="Web-{5AEC8449-5BCE-4EDD-24E1-843FBA39EA78}" dt="2021-10-20T13:28:54.045" v="407" actId="1076"/>
          <ac:spMkLst>
            <pc:docMk/>
            <pc:sldMk cId="2469131820" sldId="314"/>
            <ac:spMk id="11" creationId="{799010B4-3BDE-490F-B0D8-7AF8DC3EBFBD}"/>
          </ac:spMkLst>
        </pc:spChg>
        <pc:spChg chg="mod">
          <ac:chgData name="Yudi Wang" userId="S::yudi.wang@fs-students.de::d6d3e1ff-7fbc-44f4-bef1-29aa738b3b63" providerId="AD" clId="Web-{5AEC8449-5BCE-4EDD-24E1-843FBA39EA78}" dt="2021-10-20T13:27:47.197" v="396" actId="20577"/>
          <ac:spMkLst>
            <pc:docMk/>
            <pc:sldMk cId="2469131820" sldId="314"/>
            <ac:spMk id="12" creationId="{50E4282D-0646-40E2-95A5-C91A80FED8A0}"/>
          </ac:spMkLst>
        </pc:spChg>
      </pc:sldChg>
      <pc:sldChg chg="modSp">
        <pc:chgData name="Yudi Wang" userId="S::yudi.wang@fs-students.de::d6d3e1ff-7fbc-44f4-bef1-29aa738b3b63" providerId="AD" clId="Web-{5AEC8449-5BCE-4EDD-24E1-843FBA39EA78}" dt="2021-10-20T13:44:04.053" v="511" actId="20577"/>
        <pc:sldMkLst>
          <pc:docMk/>
          <pc:sldMk cId="1942348074" sldId="315"/>
        </pc:sldMkLst>
        <pc:spChg chg="mod">
          <ac:chgData name="Yudi Wang" userId="S::yudi.wang@fs-students.de::d6d3e1ff-7fbc-44f4-bef1-29aa738b3b63" providerId="AD" clId="Web-{5AEC8449-5BCE-4EDD-24E1-843FBA39EA78}" dt="2021-10-20T13:44:04.053" v="511" actId="20577"/>
          <ac:spMkLst>
            <pc:docMk/>
            <pc:sldMk cId="1942348074" sldId="315"/>
            <ac:spMk id="6" creationId="{FC652EF3-B629-4486-B407-7AF42C33E08C}"/>
          </ac:spMkLst>
        </pc:spChg>
      </pc:sldChg>
      <pc:sldChg chg="modSp">
        <pc:chgData name="Yudi Wang" userId="S::yudi.wang@fs-students.de::d6d3e1ff-7fbc-44f4-bef1-29aa738b3b63" providerId="AD" clId="Web-{5AEC8449-5BCE-4EDD-24E1-843FBA39EA78}" dt="2021-10-20T13:49:10.915" v="558" actId="14100"/>
        <pc:sldMkLst>
          <pc:docMk/>
          <pc:sldMk cId="2840091132" sldId="316"/>
        </pc:sldMkLst>
        <pc:spChg chg="mod">
          <ac:chgData name="Yudi Wang" userId="S::yudi.wang@fs-students.de::d6d3e1ff-7fbc-44f4-bef1-29aa738b3b63" providerId="AD" clId="Web-{5AEC8449-5BCE-4EDD-24E1-843FBA39EA78}" dt="2021-10-20T13:49:10.915" v="558" actId="14100"/>
          <ac:spMkLst>
            <pc:docMk/>
            <pc:sldMk cId="2840091132" sldId="316"/>
            <ac:spMk id="6" creationId="{E27B92E4-B9B2-4FE2-822D-E15326354928}"/>
          </ac:spMkLst>
        </pc:spChg>
      </pc:sldChg>
      <pc:sldChg chg="addSp modSp">
        <pc:chgData name="Yudi Wang" userId="S::yudi.wang@fs-students.de::d6d3e1ff-7fbc-44f4-bef1-29aa738b3b63" providerId="AD" clId="Web-{5AEC8449-5BCE-4EDD-24E1-843FBA39EA78}" dt="2021-10-20T13:20:58.469" v="390" actId="1076"/>
        <pc:sldMkLst>
          <pc:docMk/>
          <pc:sldMk cId="144855330" sldId="318"/>
        </pc:sldMkLst>
        <pc:spChg chg="mod">
          <ac:chgData name="Yudi Wang" userId="S::yudi.wang@fs-students.de::d6d3e1ff-7fbc-44f4-bef1-29aa738b3b63" providerId="AD" clId="Web-{5AEC8449-5BCE-4EDD-24E1-843FBA39EA78}" dt="2021-10-20T13:18:54.946" v="376" actId="20577"/>
          <ac:spMkLst>
            <pc:docMk/>
            <pc:sldMk cId="144855330" sldId="318"/>
            <ac:spMk id="7" creationId="{D4EB952D-F694-4A05-B6D2-7F0B5AF04036}"/>
          </ac:spMkLst>
        </pc:spChg>
        <pc:spChg chg="mod">
          <ac:chgData name="Yudi Wang" userId="S::yudi.wang@fs-students.de::d6d3e1ff-7fbc-44f4-bef1-29aa738b3b63" providerId="AD" clId="Web-{5AEC8449-5BCE-4EDD-24E1-843FBA39EA78}" dt="2021-10-20T12:47:43.723" v="106" actId="20577"/>
          <ac:spMkLst>
            <pc:docMk/>
            <pc:sldMk cId="144855330" sldId="318"/>
            <ac:spMk id="9" creationId="{FA8D25B3-D571-4488-A0CF-ADBEC5D6CA7E}"/>
          </ac:spMkLst>
        </pc:spChg>
        <pc:spChg chg="add mod">
          <ac:chgData name="Yudi Wang" userId="S::yudi.wang@fs-students.de::d6d3e1ff-7fbc-44f4-bef1-29aa738b3b63" providerId="AD" clId="Web-{5AEC8449-5BCE-4EDD-24E1-843FBA39EA78}" dt="2021-10-20T13:19:48.465" v="389" actId="1076"/>
          <ac:spMkLst>
            <pc:docMk/>
            <pc:sldMk cId="144855330" sldId="318"/>
            <ac:spMk id="12" creationId="{6EF012CB-C75D-4D45-9942-963D6B00E692}"/>
          </ac:spMkLst>
        </pc:spChg>
        <pc:picChg chg="mod">
          <ac:chgData name="Yudi Wang" userId="S::yudi.wang@fs-students.de::d6d3e1ff-7fbc-44f4-bef1-29aa738b3b63" providerId="AD" clId="Web-{5AEC8449-5BCE-4EDD-24E1-843FBA39EA78}" dt="2021-10-20T13:20:58.469" v="390" actId="1076"/>
          <ac:picMkLst>
            <pc:docMk/>
            <pc:sldMk cId="144855330" sldId="318"/>
            <ac:picMk id="8" creationId="{BF218F6A-C862-47B7-869B-0920EA021818}"/>
          </ac:picMkLst>
        </pc:picChg>
      </pc:sldChg>
      <pc:sldChg chg="modSp">
        <pc:chgData name="Yudi Wang" userId="S::yudi.wang@fs-students.de::d6d3e1ff-7fbc-44f4-bef1-29aa738b3b63" providerId="AD" clId="Web-{5AEC8449-5BCE-4EDD-24E1-843FBA39EA78}" dt="2021-10-20T14:28:01.211" v="746" actId="20577"/>
        <pc:sldMkLst>
          <pc:docMk/>
          <pc:sldMk cId="59782169" sldId="319"/>
        </pc:sldMkLst>
        <pc:spChg chg="mod">
          <ac:chgData name="Yudi Wang" userId="S::yudi.wang@fs-students.de::d6d3e1ff-7fbc-44f4-bef1-29aa738b3b63" providerId="AD" clId="Web-{5AEC8449-5BCE-4EDD-24E1-843FBA39EA78}" dt="2021-10-20T14:27:58.711" v="745" actId="20577"/>
          <ac:spMkLst>
            <pc:docMk/>
            <pc:sldMk cId="59782169" sldId="319"/>
            <ac:spMk id="27" creationId="{846961D8-61BB-4898-A874-42A487CE975C}"/>
          </ac:spMkLst>
        </pc:spChg>
        <pc:spChg chg="mod">
          <ac:chgData name="Yudi Wang" userId="S::yudi.wang@fs-students.de::d6d3e1ff-7fbc-44f4-bef1-29aa738b3b63" providerId="AD" clId="Web-{5AEC8449-5BCE-4EDD-24E1-843FBA39EA78}" dt="2021-10-20T14:28:01.211" v="746" actId="20577"/>
          <ac:spMkLst>
            <pc:docMk/>
            <pc:sldMk cId="59782169" sldId="319"/>
            <ac:spMk id="29" creationId="{8ABC90B4-DA1C-42D4-A392-AAEFF2D6CF53}"/>
          </ac:spMkLst>
        </pc:spChg>
      </pc:sldChg>
      <pc:sldChg chg="modSp">
        <pc:chgData name="Yudi Wang" userId="S::yudi.wang@fs-students.de::d6d3e1ff-7fbc-44f4-bef1-29aa738b3b63" providerId="AD" clId="Web-{5AEC8449-5BCE-4EDD-24E1-843FBA39EA78}" dt="2021-10-20T12:10:36.823" v="9" actId="20577"/>
        <pc:sldMkLst>
          <pc:docMk/>
          <pc:sldMk cId="265307825" sldId="322"/>
        </pc:sldMkLst>
        <pc:spChg chg="mod">
          <ac:chgData name="Yudi Wang" userId="S::yudi.wang@fs-students.de::d6d3e1ff-7fbc-44f4-bef1-29aa738b3b63" providerId="AD" clId="Web-{5AEC8449-5BCE-4EDD-24E1-843FBA39EA78}" dt="2021-10-20T12:10:36.823" v="9" actId="20577"/>
          <ac:spMkLst>
            <pc:docMk/>
            <pc:sldMk cId="265307825" sldId="322"/>
            <ac:spMk id="30" creationId="{6EB666A8-EA24-4A32-B6B0-00F546FB92A4}"/>
          </ac:spMkLst>
        </pc:spChg>
      </pc:sldChg>
      <pc:sldChg chg="modSp">
        <pc:chgData name="Yudi Wang" userId="S::yudi.wang@fs-students.de::d6d3e1ff-7fbc-44f4-bef1-29aa738b3b63" providerId="AD" clId="Web-{5AEC8449-5BCE-4EDD-24E1-843FBA39EA78}" dt="2021-10-20T13:05:55.196" v="302" actId="20577"/>
        <pc:sldMkLst>
          <pc:docMk/>
          <pc:sldMk cId="2162620498" sldId="327"/>
        </pc:sldMkLst>
        <pc:spChg chg="mod">
          <ac:chgData name="Yudi Wang" userId="S::yudi.wang@fs-students.de::d6d3e1ff-7fbc-44f4-bef1-29aa738b3b63" providerId="AD" clId="Web-{5AEC8449-5BCE-4EDD-24E1-843FBA39EA78}" dt="2021-10-20T13:05:51.899" v="300" actId="20577"/>
          <ac:spMkLst>
            <pc:docMk/>
            <pc:sldMk cId="2162620498" sldId="327"/>
            <ac:spMk id="3" creationId="{F89D7F64-198B-4936-B681-D6066F272A9A}"/>
          </ac:spMkLst>
        </pc:spChg>
        <pc:spChg chg="mod">
          <ac:chgData name="Yudi Wang" userId="S::yudi.wang@fs-students.de::d6d3e1ff-7fbc-44f4-bef1-29aa738b3b63" providerId="AD" clId="Web-{5AEC8449-5BCE-4EDD-24E1-843FBA39EA78}" dt="2021-10-20T12:41:33.029" v="81" actId="20577"/>
          <ac:spMkLst>
            <pc:docMk/>
            <pc:sldMk cId="2162620498" sldId="327"/>
            <ac:spMk id="4" creationId="{B24CEA83-3EDA-4925-92BF-C5C8D0A4BEA0}"/>
          </ac:spMkLst>
        </pc:spChg>
        <pc:spChg chg="mod">
          <ac:chgData name="Yudi Wang" userId="S::yudi.wang@fs-students.de::d6d3e1ff-7fbc-44f4-bef1-29aa738b3b63" providerId="AD" clId="Web-{5AEC8449-5BCE-4EDD-24E1-843FBA39EA78}" dt="2021-10-20T13:05:55.196" v="302" actId="20577"/>
          <ac:spMkLst>
            <pc:docMk/>
            <pc:sldMk cId="2162620498" sldId="327"/>
            <ac:spMk id="8" creationId="{B893367A-DE2A-4596-8943-1B4D9F17ADE5}"/>
          </ac:spMkLst>
        </pc:spChg>
        <pc:spChg chg="mod">
          <ac:chgData name="Yudi Wang" userId="S::yudi.wang@fs-students.de::d6d3e1ff-7fbc-44f4-bef1-29aa738b3b63" providerId="AD" clId="Web-{5AEC8449-5BCE-4EDD-24E1-843FBA39EA78}" dt="2021-10-20T13:05:48.570" v="298" actId="20577"/>
          <ac:spMkLst>
            <pc:docMk/>
            <pc:sldMk cId="2162620498" sldId="327"/>
            <ac:spMk id="9" creationId="{61785E7A-F957-47BA-9863-7E4FA5F1870F}"/>
          </ac:spMkLst>
        </pc:spChg>
      </pc:sldChg>
      <pc:sldChg chg="addSp delSp modSp">
        <pc:chgData name="Yudi Wang" userId="S::yudi.wang@fs-students.de::d6d3e1ff-7fbc-44f4-bef1-29aa738b3b63" providerId="AD" clId="Web-{5AEC8449-5BCE-4EDD-24E1-843FBA39EA78}" dt="2021-10-20T13:09:45.960" v="330"/>
        <pc:sldMkLst>
          <pc:docMk/>
          <pc:sldMk cId="1300532342" sldId="331"/>
        </pc:sldMkLst>
        <pc:spChg chg="add del">
          <ac:chgData name="Yudi Wang" userId="S::yudi.wang@fs-students.de::d6d3e1ff-7fbc-44f4-bef1-29aa738b3b63" providerId="AD" clId="Web-{5AEC8449-5BCE-4EDD-24E1-843FBA39EA78}" dt="2021-10-20T13:09:45.960" v="330"/>
          <ac:spMkLst>
            <pc:docMk/>
            <pc:sldMk cId="1300532342" sldId="331"/>
            <ac:spMk id="2" creationId="{93CF6F2A-B00A-4F97-A8BF-39504A9CD7B5}"/>
          </ac:spMkLst>
        </pc:spChg>
        <pc:spChg chg="mod">
          <ac:chgData name="Yudi Wang" userId="S::yudi.wang@fs-students.de::d6d3e1ff-7fbc-44f4-bef1-29aa738b3b63" providerId="AD" clId="Web-{5AEC8449-5BCE-4EDD-24E1-843FBA39EA78}" dt="2021-10-20T13:09:28.787" v="328"/>
          <ac:spMkLst>
            <pc:docMk/>
            <pc:sldMk cId="1300532342" sldId="331"/>
            <ac:spMk id="4" creationId="{A9DB2B7F-1565-4E93-87C3-A836B9D724FD}"/>
          </ac:spMkLst>
        </pc:spChg>
        <pc:spChg chg="mod">
          <ac:chgData name="Yudi Wang" userId="S::yudi.wang@fs-students.de::d6d3e1ff-7fbc-44f4-bef1-29aa738b3b63" providerId="AD" clId="Web-{5AEC8449-5BCE-4EDD-24E1-843FBA39EA78}" dt="2021-10-20T13:05:17.912" v="296" actId="20577"/>
          <ac:spMkLst>
            <pc:docMk/>
            <pc:sldMk cId="1300532342" sldId="331"/>
            <ac:spMk id="10" creationId="{C202204B-BB53-4C9F-A311-2D2172695DF4}"/>
          </ac:spMkLst>
        </pc:spChg>
        <pc:spChg chg="mod">
          <ac:chgData name="Yudi Wang" userId="S::yudi.wang@fs-students.de::d6d3e1ff-7fbc-44f4-bef1-29aa738b3b63" providerId="AD" clId="Web-{5AEC8449-5BCE-4EDD-24E1-843FBA39EA78}" dt="2021-10-20T12:42:30.720" v="82" actId="20577"/>
          <ac:spMkLst>
            <pc:docMk/>
            <pc:sldMk cId="1300532342" sldId="331"/>
            <ac:spMk id="14" creationId="{8C4F134B-85CD-427D-AD2D-E75C532E35C7}"/>
          </ac:spMkLst>
        </pc:spChg>
        <pc:spChg chg="mod">
          <ac:chgData name="Yudi Wang" userId="S::yudi.wang@fs-students.de::d6d3e1ff-7fbc-44f4-bef1-29aa738b3b63" providerId="AD" clId="Web-{5AEC8449-5BCE-4EDD-24E1-843FBA39EA78}" dt="2021-10-20T12:37:46.562" v="63" actId="20577"/>
          <ac:spMkLst>
            <pc:docMk/>
            <pc:sldMk cId="1300532342" sldId="331"/>
            <ac:spMk id="17" creationId="{76FF0807-2A15-46B2-8431-AF3AB38C4DFB}"/>
          </ac:spMkLst>
        </pc:spChg>
        <pc:picChg chg="mod">
          <ac:chgData name="Yudi Wang" userId="S::yudi.wang@fs-students.de::d6d3e1ff-7fbc-44f4-bef1-29aa738b3b63" providerId="AD" clId="Web-{5AEC8449-5BCE-4EDD-24E1-843FBA39EA78}" dt="2021-10-20T13:08:49.128" v="326" actId="1076"/>
          <ac:picMkLst>
            <pc:docMk/>
            <pc:sldMk cId="1300532342" sldId="331"/>
            <ac:picMk id="5" creationId="{3E8B3783-FBFD-40CE-9FB8-781CACAD6FC1}"/>
          </ac:picMkLst>
        </pc:picChg>
        <pc:picChg chg="del mod">
          <ac:chgData name="Yudi Wang" userId="S::yudi.wang@fs-students.de::d6d3e1ff-7fbc-44f4-bef1-29aa738b3b63" providerId="AD" clId="Web-{5AEC8449-5BCE-4EDD-24E1-843FBA39EA78}" dt="2021-10-20T13:07:36.811" v="315"/>
          <ac:picMkLst>
            <pc:docMk/>
            <pc:sldMk cId="1300532342" sldId="331"/>
            <ac:picMk id="6" creationId="{A0887C19-93C4-4981-9C4C-EFBC30CAFE8E}"/>
          </ac:picMkLst>
        </pc:picChg>
        <pc:picChg chg="mod">
          <ac:chgData name="Yudi Wang" userId="S::yudi.wang@fs-students.de::d6d3e1ff-7fbc-44f4-bef1-29aa738b3b63" providerId="AD" clId="Web-{5AEC8449-5BCE-4EDD-24E1-843FBA39EA78}" dt="2021-10-20T13:08:01.953" v="324" actId="1076"/>
          <ac:picMkLst>
            <pc:docMk/>
            <pc:sldMk cId="1300532342" sldId="331"/>
            <ac:picMk id="7" creationId="{682552CF-7E96-420E-8C71-62C3878B4904}"/>
          </ac:picMkLst>
        </pc:picChg>
        <pc:picChg chg="mod">
          <ac:chgData name="Yudi Wang" userId="S::yudi.wang@fs-students.de::d6d3e1ff-7fbc-44f4-bef1-29aa738b3b63" providerId="AD" clId="Web-{5AEC8449-5BCE-4EDD-24E1-843FBA39EA78}" dt="2021-10-20T13:07:53.625" v="321" actId="1076"/>
          <ac:picMkLst>
            <pc:docMk/>
            <pc:sldMk cId="1300532342" sldId="331"/>
            <ac:picMk id="8" creationId="{0BD3B605-F525-4060-BBD5-72F5DCE71140}"/>
          </ac:picMkLst>
        </pc:picChg>
      </pc:sldChg>
      <pc:sldChg chg="modSp">
        <pc:chgData name="Yudi Wang" userId="S::yudi.wang@fs-students.de::d6d3e1ff-7fbc-44f4-bef1-29aa738b3b63" providerId="AD" clId="Web-{5AEC8449-5BCE-4EDD-24E1-843FBA39EA78}" dt="2021-10-20T13:29:54.752" v="412" actId="20577"/>
        <pc:sldMkLst>
          <pc:docMk/>
          <pc:sldMk cId="990268362" sldId="336"/>
        </pc:sldMkLst>
        <pc:spChg chg="mod">
          <ac:chgData name="Yudi Wang" userId="S::yudi.wang@fs-students.de::d6d3e1ff-7fbc-44f4-bef1-29aa738b3b63" providerId="AD" clId="Web-{5AEC8449-5BCE-4EDD-24E1-843FBA39EA78}" dt="2021-10-20T13:29:54.752" v="412" actId="20577"/>
          <ac:spMkLst>
            <pc:docMk/>
            <pc:sldMk cId="990268362" sldId="336"/>
            <ac:spMk id="2" creationId="{F1FCDA21-B467-470B-8113-EED371962CDA}"/>
          </ac:spMkLst>
        </pc:spChg>
      </pc:sldChg>
      <pc:sldChg chg="modSp">
        <pc:chgData name="Yudi Wang" userId="S::yudi.wang@fs-students.de::d6d3e1ff-7fbc-44f4-bef1-29aa738b3b63" providerId="AD" clId="Web-{5AEC8449-5BCE-4EDD-24E1-843FBA39EA78}" dt="2021-10-20T12:59:58.737" v="235" actId="20577"/>
        <pc:sldMkLst>
          <pc:docMk/>
          <pc:sldMk cId="923699745" sldId="340"/>
        </pc:sldMkLst>
        <pc:spChg chg="mod">
          <ac:chgData name="Yudi Wang" userId="S::yudi.wang@fs-students.de::d6d3e1ff-7fbc-44f4-bef1-29aa738b3b63" providerId="AD" clId="Web-{5AEC8449-5BCE-4EDD-24E1-843FBA39EA78}" dt="2021-10-20T12:59:58.737" v="235" actId="20577"/>
          <ac:spMkLst>
            <pc:docMk/>
            <pc:sldMk cId="923699745" sldId="340"/>
            <ac:spMk id="18" creationId="{907AA1F2-AEBF-4BD5-8F43-2AB381303E80}"/>
          </ac:spMkLst>
        </pc:spChg>
        <pc:spChg chg="mod">
          <ac:chgData name="Yudi Wang" userId="S::yudi.wang@fs-students.de::d6d3e1ff-7fbc-44f4-bef1-29aa738b3b63" providerId="AD" clId="Web-{5AEC8449-5BCE-4EDD-24E1-843FBA39EA78}" dt="2021-10-20T12:28:48.217" v="28" actId="20577"/>
          <ac:spMkLst>
            <pc:docMk/>
            <pc:sldMk cId="923699745" sldId="340"/>
            <ac:spMk id="21" creationId="{3A579730-4056-4C6F-B95D-1263B53CF714}"/>
          </ac:spMkLst>
        </pc:spChg>
      </pc:sldChg>
      <pc:sldChg chg="modSp">
        <pc:chgData name="Yudi Wang" userId="S::yudi.wang@fs-students.de::d6d3e1ff-7fbc-44f4-bef1-29aa738b3b63" providerId="AD" clId="Web-{5AEC8449-5BCE-4EDD-24E1-843FBA39EA78}" dt="2021-10-20T13:59:31.077" v="573" actId="1076"/>
        <pc:sldMkLst>
          <pc:docMk/>
          <pc:sldMk cId="1143917525" sldId="342"/>
        </pc:sldMkLst>
        <pc:spChg chg="mod">
          <ac:chgData name="Yudi Wang" userId="S::yudi.wang@fs-students.de::d6d3e1ff-7fbc-44f4-bef1-29aa738b3b63" providerId="AD" clId="Web-{5AEC8449-5BCE-4EDD-24E1-843FBA39EA78}" dt="2021-10-20T12:59:44.892" v="234" actId="20577"/>
          <ac:spMkLst>
            <pc:docMk/>
            <pc:sldMk cId="1143917525" sldId="342"/>
            <ac:spMk id="13" creationId="{CD12F295-986B-49B3-B714-7B35CD80CF04}"/>
          </ac:spMkLst>
        </pc:spChg>
        <pc:spChg chg="mod">
          <ac:chgData name="Yudi Wang" userId="S::yudi.wang@fs-students.de::d6d3e1ff-7fbc-44f4-bef1-29aa738b3b63" providerId="AD" clId="Web-{5AEC8449-5BCE-4EDD-24E1-843FBA39EA78}" dt="2021-10-20T13:56:17.753" v="559" actId="1076"/>
          <ac:spMkLst>
            <pc:docMk/>
            <pc:sldMk cId="1143917525" sldId="342"/>
            <ac:spMk id="14" creationId="{31744EF3-C828-48AA-BBF7-92432F99DAD3}"/>
          </ac:spMkLst>
        </pc:spChg>
        <pc:spChg chg="mod">
          <ac:chgData name="Yudi Wang" userId="S::yudi.wang@fs-students.de::d6d3e1ff-7fbc-44f4-bef1-29aa738b3b63" providerId="AD" clId="Web-{5AEC8449-5BCE-4EDD-24E1-843FBA39EA78}" dt="2021-10-20T12:44:09.757" v="84" actId="20577"/>
          <ac:spMkLst>
            <pc:docMk/>
            <pc:sldMk cId="1143917525" sldId="342"/>
            <ac:spMk id="16" creationId="{05D73FA5-9537-4039-87BF-C409ECD6749A}"/>
          </ac:spMkLst>
        </pc:spChg>
        <pc:spChg chg="mod">
          <ac:chgData name="Yudi Wang" userId="S::yudi.wang@fs-students.de::d6d3e1ff-7fbc-44f4-bef1-29aa738b3b63" providerId="AD" clId="Web-{5AEC8449-5BCE-4EDD-24E1-843FBA39EA78}" dt="2021-10-20T12:40:45.339" v="75" actId="14100"/>
          <ac:spMkLst>
            <pc:docMk/>
            <pc:sldMk cId="1143917525" sldId="342"/>
            <ac:spMk id="17" creationId="{0C56489D-010C-45A9-A770-61A32601ADFB}"/>
          </ac:spMkLst>
        </pc:spChg>
        <pc:picChg chg="mod">
          <ac:chgData name="Yudi Wang" userId="S::yudi.wang@fs-students.de::d6d3e1ff-7fbc-44f4-bef1-29aa738b3b63" providerId="AD" clId="Web-{5AEC8449-5BCE-4EDD-24E1-843FBA39EA78}" dt="2021-10-20T13:59:27.515" v="572" actId="1076"/>
          <ac:picMkLst>
            <pc:docMk/>
            <pc:sldMk cId="1143917525" sldId="342"/>
            <ac:picMk id="3" creationId="{BA117ADF-E926-4E94-B21D-87B09E7C46EB}"/>
          </ac:picMkLst>
        </pc:picChg>
        <pc:picChg chg="mod">
          <ac:chgData name="Yudi Wang" userId="S::yudi.wang@fs-students.de::d6d3e1ff-7fbc-44f4-bef1-29aa738b3b63" providerId="AD" clId="Web-{5AEC8449-5BCE-4EDD-24E1-843FBA39EA78}" dt="2021-10-20T13:59:31.077" v="573" actId="1076"/>
          <ac:picMkLst>
            <pc:docMk/>
            <pc:sldMk cId="1143917525" sldId="342"/>
            <ac:picMk id="4" creationId="{517DAA61-96E8-4B86-9363-1501DABC4301}"/>
          </ac:picMkLst>
        </pc:picChg>
      </pc:sldChg>
      <pc:sldChg chg="modSp del">
        <pc:chgData name="Yudi Wang" userId="S::yudi.wang@fs-students.de::d6d3e1ff-7fbc-44f4-bef1-29aa738b3b63" providerId="AD" clId="Web-{5AEC8449-5BCE-4EDD-24E1-843FBA39EA78}" dt="2021-10-20T15:04:33.062" v="747"/>
        <pc:sldMkLst>
          <pc:docMk/>
          <pc:sldMk cId="517890207" sldId="343"/>
        </pc:sldMkLst>
        <pc:spChg chg="mod">
          <ac:chgData name="Yudi Wang" userId="S::yudi.wang@fs-students.de::d6d3e1ff-7fbc-44f4-bef1-29aa738b3b63" providerId="AD" clId="Web-{5AEC8449-5BCE-4EDD-24E1-843FBA39EA78}" dt="2021-10-20T12:20:32.656" v="20" actId="20577"/>
          <ac:spMkLst>
            <pc:docMk/>
            <pc:sldMk cId="517890207" sldId="343"/>
            <ac:spMk id="15" creationId="{18F66560-9063-4957-9DE3-E5253AD7D37C}"/>
          </ac:spMkLst>
        </pc:spChg>
        <pc:spChg chg="mod">
          <ac:chgData name="Yudi Wang" userId="S::yudi.wang@fs-students.de::d6d3e1ff-7fbc-44f4-bef1-29aa738b3b63" providerId="AD" clId="Web-{5AEC8449-5BCE-4EDD-24E1-843FBA39EA78}" dt="2021-10-20T12:27:53.370" v="27" actId="20577"/>
          <ac:spMkLst>
            <pc:docMk/>
            <pc:sldMk cId="517890207" sldId="343"/>
            <ac:spMk id="29" creationId="{7085F4B5-43CA-44AB-9113-9541603FAA96}"/>
          </ac:spMkLst>
        </pc:spChg>
        <pc:spChg chg="mod">
          <ac:chgData name="Yudi Wang" userId="S::yudi.wang@fs-students.de::d6d3e1ff-7fbc-44f4-bef1-29aa738b3b63" providerId="AD" clId="Web-{5AEC8449-5BCE-4EDD-24E1-843FBA39EA78}" dt="2021-10-20T12:29:56.471" v="31" actId="20577"/>
          <ac:spMkLst>
            <pc:docMk/>
            <pc:sldMk cId="517890207" sldId="343"/>
            <ac:spMk id="32" creationId="{9DC353F4-62C9-4B05-8BB6-F239A0B7FD81}"/>
          </ac:spMkLst>
        </pc:spChg>
      </pc:sldChg>
      <pc:sldChg chg="delSp modSp">
        <pc:chgData name="Yudi Wang" userId="S::yudi.wang@fs-students.de::d6d3e1ff-7fbc-44f4-bef1-29aa738b3b63" providerId="AD" clId="Web-{5AEC8449-5BCE-4EDD-24E1-843FBA39EA78}" dt="2021-10-20T15:06:53.742" v="776" actId="1076"/>
        <pc:sldMkLst>
          <pc:docMk/>
          <pc:sldMk cId="217499512" sldId="344"/>
        </pc:sldMkLst>
        <pc:spChg chg="del mod">
          <ac:chgData name="Yudi Wang" userId="S::yudi.wang@fs-students.de::d6d3e1ff-7fbc-44f4-bef1-29aa738b3b63" providerId="AD" clId="Web-{5AEC8449-5BCE-4EDD-24E1-843FBA39EA78}" dt="2021-10-20T12:26:37.756" v="23"/>
          <ac:spMkLst>
            <pc:docMk/>
            <pc:sldMk cId="217499512" sldId="344"/>
            <ac:spMk id="3" creationId="{23A085B4-A667-4544-B0F7-9DF646076EF7}"/>
          </ac:spMkLst>
        </pc:spChg>
        <pc:spChg chg="mod">
          <ac:chgData name="Yudi Wang" userId="S::yudi.wang@fs-students.de::d6d3e1ff-7fbc-44f4-bef1-29aa738b3b63" providerId="AD" clId="Web-{5AEC8449-5BCE-4EDD-24E1-843FBA39EA78}" dt="2021-10-20T15:06:45.508" v="774" actId="20577"/>
          <ac:spMkLst>
            <pc:docMk/>
            <pc:sldMk cId="217499512" sldId="344"/>
            <ac:spMk id="24" creationId="{207DF35D-A048-4302-AA1A-422C8DDB4E8A}"/>
          </ac:spMkLst>
        </pc:spChg>
        <pc:spChg chg="mod">
          <ac:chgData name="Yudi Wang" userId="S::yudi.wang@fs-students.de::d6d3e1ff-7fbc-44f4-bef1-29aa738b3b63" providerId="AD" clId="Web-{5AEC8449-5BCE-4EDD-24E1-843FBA39EA78}" dt="2021-10-20T15:04:59.767" v="750" actId="1076"/>
          <ac:spMkLst>
            <pc:docMk/>
            <pc:sldMk cId="217499512" sldId="344"/>
            <ac:spMk id="27" creationId="{D8347513-A5B4-4702-A29B-02400BEED4FF}"/>
          </ac:spMkLst>
        </pc:spChg>
        <pc:spChg chg="mod">
          <ac:chgData name="Yudi Wang" userId="S::yudi.wang@fs-students.de::d6d3e1ff-7fbc-44f4-bef1-29aa738b3b63" providerId="AD" clId="Web-{5AEC8449-5BCE-4EDD-24E1-843FBA39EA78}" dt="2021-10-20T15:06:17.506" v="763" actId="20577"/>
          <ac:spMkLst>
            <pc:docMk/>
            <pc:sldMk cId="217499512" sldId="344"/>
            <ac:spMk id="34" creationId="{657BF9F5-9031-48D8-9838-145EBA323B47}"/>
          </ac:spMkLst>
        </pc:spChg>
        <pc:spChg chg="mod">
          <ac:chgData name="Yudi Wang" userId="S::yudi.wang@fs-students.de::d6d3e1ff-7fbc-44f4-bef1-29aa738b3b63" providerId="AD" clId="Web-{5AEC8449-5BCE-4EDD-24E1-843FBA39EA78}" dt="2021-10-20T15:06:40.929" v="772" actId="20577"/>
          <ac:spMkLst>
            <pc:docMk/>
            <pc:sldMk cId="217499512" sldId="344"/>
            <ac:spMk id="35" creationId="{B8D8B68E-76F8-44F3-9285-5000B68FA1F9}"/>
          </ac:spMkLst>
        </pc:spChg>
        <pc:spChg chg="mod">
          <ac:chgData name="Yudi Wang" userId="S::yudi.wang@fs-students.de::d6d3e1ff-7fbc-44f4-bef1-29aa738b3b63" providerId="AD" clId="Web-{5AEC8449-5BCE-4EDD-24E1-843FBA39EA78}" dt="2021-10-20T15:06:12.787" v="762" actId="20577"/>
          <ac:spMkLst>
            <pc:docMk/>
            <pc:sldMk cId="217499512" sldId="344"/>
            <ac:spMk id="38" creationId="{BA3B6128-34DB-448D-9C3D-D7230AFC16B8}"/>
          </ac:spMkLst>
        </pc:spChg>
        <pc:spChg chg="mod">
          <ac:chgData name="Yudi Wang" userId="S::yudi.wang@fs-students.de::d6d3e1ff-7fbc-44f4-bef1-29aa738b3b63" providerId="AD" clId="Web-{5AEC8449-5BCE-4EDD-24E1-843FBA39EA78}" dt="2021-10-20T15:05:21.674" v="754" actId="1076"/>
          <ac:spMkLst>
            <pc:docMk/>
            <pc:sldMk cId="217499512" sldId="344"/>
            <ac:spMk id="39" creationId="{30CBC354-CE7C-4F4E-A16C-C59DC1F09E91}"/>
          </ac:spMkLst>
        </pc:spChg>
        <pc:spChg chg="mod">
          <ac:chgData name="Yudi Wang" userId="S::yudi.wang@fs-students.de::d6d3e1ff-7fbc-44f4-bef1-29aa738b3b63" providerId="AD" clId="Web-{5AEC8449-5BCE-4EDD-24E1-843FBA39EA78}" dt="2021-10-20T12:29:52.127" v="30" actId="20577"/>
          <ac:spMkLst>
            <pc:docMk/>
            <pc:sldMk cId="217499512" sldId="344"/>
            <ac:spMk id="42" creationId="{9D5FC891-34FE-4EA0-9C31-D285D8AB442C}"/>
          </ac:spMkLst>
        </pc:spChg>
        <pc:spChg chg="mod">
          <ac:chgData name="Yudi Wang" userId="S::yudi.wang@fs-students.de::d6d3e1ff-7fbc-44f4-bef1-29aa738b3b63" providerId="AD" clId="Web-{5AEC8449-5BCE-4EDD-24E1-843FBA39EA78}" dt="2021-10-20T15:06:53.742" v="776" actId="1076"/>
          <ac:spMkLst>
            <pc:docMk/>
            <pc:sldMk cId="217499512" sldId="344"/>
            <ac:spMk id="45" creationId="{405E5574-1CEC-4B5C-A591-49CB1CC75951}"/>
          </ac:spMkLst>
        </pc:spChg>
        <pc:spChg chg="mod">
          <ac:chgData name="Yudi Wang" userId="S::yudi.wang@fs-students.de::d6d3e1ff-7fbc-44f4-bef1-29aa738b3b63" providerId="AD" clId="Web-{5AEC8449-5BCE-4EDD-24E1-843FBA39EA78}" dt="2021-10-20T15:06:04.521" v="761" actId="1076"/>
          <ac:spMkLst>
            <pc:docMk/>
            <pc:sldMk cId="217499512" sldId="344"/>
            <ac:spMk id="49" creationId="{DDB71329-2213-44AB-8224-FC6F49247198}"/>
          </ac:spMkLst>
        </pc:spChg>
        <pc:grpChg chg="mod">
          <ac:chgData name="Yudi Wang" userId="S::yudi.wang@fs-students.de::d6d3e1ff-7fbc-44f4-bef1-29aa738b3b63" providerId="AD" clId="Web-{5AEC8449-5BCE-4EDD-24E1-843FBA39EA78}" dt="2021-10-20T15:05:06.423" v="751" actId="1076"/>
          <ac:grpSpMkLst>
            <pc:docMk/>
            <pc:sldMk cId="217499512" sldId="344"/>
            <ac:grpSpMk id="22" creationId="{84585F9B-7936-4D30-B193-C210AA369C8A}"/>
          </ac:grpSpMkLst>
        </pc:grpChg>
        <pc:grpChg chg="mod">
          <ac:chgData name="Yudi Wang" userId="S::yudi.wang@fs-students.de::d6d3e1ff-7fbc-44f4-bef1-29aa738b3b63" providerId="AD" clId="Web-{5AEC8449-5BCE-4EDD-24E1-843FBA39EA78}" dt="2021-10-20T15:05:10.158" v="752" actId="1076"/>
          <ac:grpSpMkLst>
            <pc:docMk/>
            <pc:sldMk cId="217499512" sldId="344"/>
            <ac:grpSpMk id="33" creationId="{75607ECC-D92D-47D3-9196-3B490DE5A029}"/>
          </ac:grpSpMkLst>
        </pc:grpChg>
        <pc:grpChg chg="mod">
          <ac:chgData name="Yudi Wang" userId="S::yudi.wang@fs-students.de::d6d3e1ff-7fbc-44f4-bef1-29aa738b3b63" providerId="AD" clId="Web-{5AEC8449-5BCE-4EDD-24E1-843FBA39EA78}" dt="2021-10-20T15:06:50.664" v="775" actId="1076"/>
          <ac:grpSpMkLst>
            <pc:docMk/>
            <pc:sldMk cId="217499512" sldId="344"/>
            <ac:grpSpMk id="43" creationId="{F4747727-CD12-451F-A3FA-E5D76515F09D}"/>
          </ac:grpSpMkLst>
        </pc:grpChg>
        <pc:grpChg chg="mod">
          <ac:chgData name="Yudi Wang" userId="S::yudi.wang@fs-students.de::d6d3e1ff-7fbc-44f4-bef1-29aa738b3b63" providerId="AD" clId="Web-{5AEC8449-5BCE-4EDD-24E1-843FBA39EA78}" dt="2021-10-20T15:05:35.878" v="756" actId="1076"/>
          <ac:grpSpMkLst>
            <pc:docMk/>
            <pc:sldMk cId="217499512" sldId="344"/>
            <ac:grpSpMk id="47" creationId="{27CFB0E0-0937-4735-8800-72B4CBFA4175}"/>
          </ac:grpSpMkLst>
        </pc:grpChg>
      </pc:sldChg>
      <pc:sldChg chg="modSp">
        <pc:chgData name="Yudi Wang" userId="S::yudi.wang@fs-students.de::d6d3e1ff-7fbc-44f4-bef1-29aa738b3b63" providerId="AD" clId="Web-{5AEC8449-5BCE-4EDD-24E1-843FBA39EA78}" dt="2021-10-20T13:15:53.560" v="371"/>
        <pc:sldMkLst>
          <pc:docMk/>
          <pc:sldMk cId="3648886001" sldId="345"/>
        </pc:sldMkLst>
        <pc:graphicFrameChg chg="mod modGraphic">
          <ac:chgData name="Yudi Wang" userId="S::yudi.wang@fs-students.de::d6d3e1ff-7fbc-44f4-bef1-29aa738b3b63" providerId="AD" clId="Web-{5AEC8449-5BCE-4EDD-24E1-843FBA39EA78}" dt="2021-10-20T13:15:53.560" v="371"/>
          <ac:graphicFrameMkLst>
            <pc:docMk/>
            <pc:sldMk cId="3648886001" sldId="345"/>
            <ac:graphicFrameMk id="12" creationId="{2018C1A4-704C-4C5F-8DFB-23B75E3C047E}"/>
          </ac:graphicFrameMkLst>
        </pc:graphicFrameChg>
      </pc:sldChg>
    </pc:docChg>
  </pc:docChgLst>
  <pc:docChgLst>
    <pc:chgData name="Tan" userId="20e48cba-d982-468b-be47-641cf873d401" providerId="ADAL" clId="{F5E58D74-7948-4ADB-9542-6C85FE27686A}"/>
    <pc:docChg chg="undo custSel addSld delSld modSld sldOrd">
      <pc:chgData name="Tan" userId="20e48cba-d982-468b-be47-641cf873d401" providerId="ADAL" clId="{F5E58D74-7948-4ADB-9542-6C85FE27686A}" dt="2021-10-21T20:39:38.352" v="2261" actId="1076"/>
      <pc:docMkLst>
        <pc:docMk/>
      </pc:docMkLst>
      <pc:sldChg chg="delSp modSp mod ord modAnim">
        <pc:chgData name="Tan" userId="20e48cba-d982-468b-be47-641cf873d401" providerId="ADAL" clId="{F5E58D74-7948-4ADB-9542-6C85FE27686A}" dt="2021-10-19T15:15:45.826" v="1109" actId="14100"/>
        <pc:sldMkLst>
          <pc:docMk/>
          <pc:sldMk cId="3035983278" sldId="260"/>
        </pc:sldMkLst>
        <pc:spChg chg="del mod">
          <ac:chgData name="Tan" userId="20e48cba-d982-468b-be47-641cf873d401" providerId="ADAL" clId="{F5E58D74-7948-4ADB-9542-6C85FE27686A}" dt="2021-10-19T15:10:17.357" v="1107"/>
          <ac:spMkLst>
            <pc:docMk/>
            <pc:sldMk cId="3035983278" sldId="260"/>
            <ac:spMk id="2" creationId="{0D38CCDB-2E42-4055-ADDB-5DECEDA6B71E}"/>
          </ac:spMkLst>
        </pc:spChg>
        <pc:spChg chg="mod">
          <ac:chgData name="Tan" userId="20e48cba-d982-468b-be47-641cf873d401" providerId="ADAL" clId="{F5E58D74-7948-4ADB-9542-6C85FE27686A}" dt="2021-10-19T13:39:03.631" v="224" actId="20577"/>
          <ac:spMkLst>
            <pc:docMk/>
            <pc:sldMk cId="3035983278" sldId="260"/>
            <ac:spMk id="17" creationId="{688CFC5C-41C5-424B-ABDE-E94206D4CCC3}"/>
          </ac:spMkLst>
        </pc:spChg>
        <pc:picChg chg="mod">
          <ac:chgData name="Tan" userId="20e48cba-d982-468b-be47-641cf873d401" providerId="ADAL" clId="{F5E58D74-7948-4ADB-9542-6C85FE27686A}" dt="2021-10-19T15:15:45.826" v="1109" actId="14100"/>
          <ac:picMkLst>
            <pc:docMk/>
            <pc:sldMk cId="3035983278" sldId="260"/>
            <ac:picMk id="4" creationId="{6954C361-3C6C-44EF-A701-BBE9D044C279}"/>
          </ac:picMkLst>
        </pc:picChg>
        <pc:picChg chg="mod">
          <ac:chgData name="Tan" userId="20e48cba-d982-468b-be47-641cf873d401" providerId="ADAL" clId="{F5E58D74-7948-4ADB-9542-6C85FE27686A}" dt="2021-10-19T13:28:46.439" v="125" actId="1076"/>
          <ac:picMkLst>
            <pc:docMk/>
            <pc:sldMk cId="3035983278" sldId="260"/>
            <ac:picMk id="6" creationId="{DA9E6873-3280-4EFC-A212-A425C1367555}"/>
          </ac:picMkLst>
        </pc:picChg>
      </pc:sldChg>
      <pc:sldChg chg="modSp del mod">
        <pc:chgData name="Tan" userId="20e48cba-d982-468b-be47-641cf873d401" providerId="ADAL" clId="{F5E58D74-7948-4ADB-9542-6C85FE27686A}" dt="2021-10-19T13:33:23.245" v="182" actId="47"/>
        <pc:sldMkLst>
          <pc:docMk/>
          <pc:sldMk cId="428076865" sldId="261"/>
        </pc:sldMkLst>
        <pc:picChg chg="mod">
          <ac:chgData name="Tan" userId="20e48cba-d982-468b-be47-641cf873d401" providerId="ADAL" clId="{F5E58D74-7948-4ADB-9542-6C85FE27686A}" dt="2021-10-19T13:32:00.816" v="150" actId="1076"/>
          <ac:picMkLst>
            <pc:docMk/>
            <pc:sldMk cId="428076865" sldId="261"/>
            <ac:picMk id="5" creationId="{4AB267E1-87AB-40CB-8CB7-0E992AD3117C}"/>
          </ac:picMkLst>
        </pc:picChg>
      </pc:sldChg>
      <pc:sldChg chg="addSp delSp modSp mod setBg setClrOvrMap">
        <pc:chgData name="Tan" userId="20e48cba-d982-468b-be47-641cf873d401" providerId="ADAL" clId="{F5E58D74-7948-4ADB-9542-6C85FE27686A}" dt="2021-10-19T15:10:17.357" v="1107"/>
        <pc:sldMkLst>
          <pc:docMk/>
          <pc:sldMk cId="933643179" sldId="262"/>
        </pc:sldMkLst>
        <pc:spChg chg="mod">
          <ac:chgData name="Tan" userId="20e48cba-d982-468b-be47-641cf873d401" providerId="ADAL" clId="{F5E58D74-7948-4ADB-9542-6C85FE27686A}" dt="2021-10-19T14:23:53.571" v="518" actId="26606"/>
          <ac:spMkLst>
            <pc:docMk/>
            <pc:sldMk cId="933643179" sldId="262"/>
            <ac:spMk id="2" creationId="{C0066270-25A3-492B-B1CD-ADABD7B17E05}"/>
          </ac:spMkLst>
        </pc:spChg>
        <pc:spChg chg="del">
          <ac:chgData name="Tan" userId="20e48cba-d982-468b-be47-641cf873d401" providerId="ADAL" clId="{F5E58D74-7948-4ADB-9542-6C85FE27686A}" dt="2021-10-19T15:10:17.357" v="1107"/>
          <ac:spMkLst>
            <pc:docMk/>
            <pc:sldMk cId="933643179" sldId="262"/>
            <ac:spMk id="3" creationId="{BC0DB6B9-DE39-4F50-B580-34FD2E1DA9BD}"/>
          </ac:spMkLst>
        </pc:spChg>
        <pc:spChg chg="add del">
          <ac:chgData name="Tan" userId="20e48cba-d982-468b-be47-641cf873d401" providerId="ADAL" clId="{F5E58D74-7948-4ADB-9542-6C85FE27686A}" dt="2021-10-19T14:23:53.565" v="517" actId="26606"/>
          <ac:spMkLst>
            <pc:docMk/>
            <pc:sldMk cId="933643179" sldId="262"/>
            <ac:spMk id="8" creationId="{AB58EF07-17C2-48CF-ABB0-EEF1F17CB8F0}"/>
          </ac:spMkLst>
        </pc:spChg>
        <pc:spChg chg="add del">
          <ac:chgData name="Tan" userId="20e48cba-d982-468b-be47-641cf873d401" providerId="ADAL" clId="{F5E58D74-7948-4ADB-9542-6C85FE27686A}" dt="2021-10-19T14:23:53.565" v="517" actId="26606"/>
          <ac:spMkLst>
            <pc:docMk/>
            <pc:sldMk cId="933643179" sldId="262"/>
            <ac:spMk id="11" creationId="{0671A8AE-40A1-4631-A6B8-581AFF065482}"/>
          </ac:spMkLst>
        </pc:spChg>
        <pc:spChg chg="add del">
          <ac:chgData name="Tan" userId="20e48cba-d982-468b-be47-641cf873d401" providerId="ADAL" clId="{F5E58D74-7948-4ADB-9542-6C85FE27686A}" dt="2021-10-19T14:23:53.565" v="517" actId="26606"/>
          <ac:spMkLst>
            <pc:docMk/>
            <pc:sldMk cId="933643179" sldId="262"/>
            <ac:spMk id="15" creationId="{AF2F604E-43BE-4DC3-B983-E071523364F8}"/>
          </ac:spMkLst>
        </pc:spChg>
        <pc:spChg chg="add del">
          <ac:chgData name="Tan" userId="20e48cba-d982-468b-be47-641cf873d401" providerId="ADAL" clId="{F5E58D74-7948-4ADB-9542-6C85FE27686A}" dt="2021-10-19T14:23:53.565" v="517" actId="26606"/>
          <ac:spMkLst>
            <pc:docMk/>
            <pc:sldMk cId="933643179" sldId="262"/>
            <ac:spMk id="17" creationId="{08C9B587-E65E-4B52-B37C-ABEBB6E87928}"/>
          </ac:spMkLst>
        </pc:spChg>
        <pc:spChg chg="add">
          <ac:chgData name="Tan" userId="20e48cba-d982-468b-be47-641cf873d401" providerId="ADAL" clId="{F5E58D74-7948-4ADB-9542-6C85FE27686A}" dt="2021-10-19T14:23:53.571" v="518" actId="26606"/>
          <ac:spMkLst>
            <pc:docMk/>
            <pc:sldMk cId="933643179" sldId="262"/>
            <ac:spMk id="19" creationId="{D928DD85-BB99-450D-A702-2683E0296282}"/>
          </ac:spMkLst>
        </pc:spChg>
        <pc:spChg chg="add">
          <ac:chgData name="Tan" userId="20e48cba-d982-468b-be47-641cf873d401" providerId="ADAL" clId="{F5E58D74-7948-4ADB-9542-6C85FE27686A}" dt="2021-10-19T14:23:53.571" v="518" actId="26606"/>
          <ac:spMkLst>
            <pc:docMk/>
            <pc:sldMk cId="933643179" sldId="262"/>
            <ac:spMk id="21" creationId="{240E5BD2-4019-4012-A1AA-628900E659E9}"/>
          </ac:spMkLst>
        </pc:spChg>
        <pc:picChg chg="mod">
          <ac:chgData name="Tan" userId="20e48cba-d982-468b-be47-641cf873d401" providerId="ADAL" clId="{F5E58D74-7948-4ADB-9542-6C85FE27686A}" dt="2021-10-19T14:23:53.571" v="518" actId="26606"/>
          <ac:picMkLst>
            <pc:docMk/>
            <pc:sldMk cId="933643179" sldId="262"/>
            <ac:picMk id="6" creationId="{359D4928-C8BA-47FB-ADA9-A184D4509E65}"/>
          </ac:picMkLst>
        </pc:picChg>
      </pc:sldChg>
      <pc:sldChg chg="addSp delSp modSp mod setBg setClrOvrMap">
        <pc:chgData name="Tan" userId="20e48cba-d982-468b-be47-641cf873d401" providerId="ADAL" clId="{F5E58D74-7948-4ADB-9542-6C85FE27686A}" dt="2021-10-19T15:10:17.357" v="1107"/>
        <pc:sldMkLst>
          <pc:docMk/>
          <pc:sldMk cId="983890126" sldId="263"/>
        </pc:sldMkLst>
        <pc:spChg chg="del">
          <ac:chgData name="Tan" userId="20e48cba-d982-468b-be47-641cf873d401" providerId="ADAL" clId="{F5E58D74-7948-4ADB-9542-6C85FE27686A}" dt="2021-10-19T15:10:17.357" v="1107"/>
          <ac:spMkLst>
            <pc:docMk/>
            <pc:sldMk cId="983890126" sldId="263"/>
            <ac:spMk id="2" creationId="{559CD347-4C80-41D9-8E49-C142938B5B79}"/>
          </ac:spMkLst>
        </pc:spChg>
        <pc:spChg chg="mod">
          <ac:chgData name="Tan" userId="20e48cba-d982-468b-be47-641cf873d401" providerId="ADAL" clId="{F5E58D74-7948-4ADB-9542-6C85FE27686A}" dt="2021-10-19T14:30:20.362" v="578" actId="26606"/>
          <ac:spMkLst>
            <pc:docMk/>
            <pc:sldMk cId="983890126" sldId="263"/>
            <ac:spMk id="5" creationId="{62C9215F-08B3-4E40-8390-1DEB01B0F8D6}"/>
          </ac:spMkLst>
        </pc:spChg>
        <pc:spChg chg="add del">
          <ac:chgData name="Tan" userId="20e48cba-d982-468b-be47-641cf873d401" providerId="ADAL" clId="{F5E58D74-7948-4ADB-9542-6C85FE27686A}" dt="2021-10-19T14:30:20.354" v="577" actId="26606"/>
          <ac:spMkLst>
            <pc:docMk/>
            <pc:sldMk cId="983890126" sldId="263"/>
            <ac:spMk id="13" creationId="{0671A8AE-40A1-4631-A6B8-581AFF065482}"/>
          </ac:spMkLst>
        </pc:spChg>
        <pc:spChg chg="add del">
          <ac:chgData name="Tan" userId="20e48cba-d982-468b-be47-641cf873d401" providerId="ADAL" clId="{F5E58D74-7948-4ADB-9542-6C85FE27686A}" dt="2021-10-19T14:30:20.354" v="577" actId="26606"/>
          <ac:spMkLst>
            <pc:docMk/>
            <pc:sldMk cId="983890126" sldId="263"/>
            <ac:spMk id="15" creationId="{AB58EF07-17C2-48CF-ABB0-EEF1F17CB8F0}"/>
          </ac:spMkLst>
        </pc:spChg>
        <pc:spChg chg="add del">
          <ac:chgData name="Tan" userId="20e48cba-d982-468b-be47-641cf873d401" providerId="ADAL" clId="{F5E58D74-7948-4ADB-9542-6C85FE27686A}" dt="2021-10-19T14:30:20.354" v="577" actId="26606"/>
          <ac:spMkLst>
            <pc:docMk/>
            <pc:sldMk cId="983890126" sldId="263"/>
            <ac:spMk id="17" creationId="{AF2F604E-43BE-4DC3-B983-E071523364F8}"/>
          </ac:spMkLst>
        </pc:spChg>
        <pc:spChg chg="add del">
          <ac:chgData name="Tan" userId="20e48cba-d982-468b-be47-641cf873d401" providerId="ADAL" clId="{F5E58D74-7948-4ADB-9542-6C85FE27686A}" dt="2021-10-19T14:30:20.354" v="577" actId="26606"/>
          <ac:spMkLst>
            <pc:docMk/>
            <pc:sldMk cId="983890126" sldId="263"/>
            <ac:spMk id="19" creationId="{08C9B587-E65E-4B52-B37C-ABEBB6E87928}"/>
          </ac:spMkLst>
        </pc:spChg>
        <pc:spChg chg="add">
          <ac:chgData name="Tan" userId="20e48cba-d982-468b-be47-641cf873d401" providerId="ADAL" clId="{F5E58D74-7948-4ADB-9542-6C85FE27686A}" dt="2021-10-19T14:30:20.362" v="578" actId="26606"/>
          <ac:spMkLst>
            <pc:docMk/>
            <pc:sldMk cId="983890126" sldId="263"/>
            <ac:spMk id="24" creationId="{D928DD85-BB99-450D-A702-2683E0296282}"/>
          </ac:spMkLst>
        </pc:spChg>
        <pc:spChg chg="add">
          <ac:chgData name="Tan" userId="20e48cba-d982-468b-be47-641cf873d401" providerId="ADAL" clId="{F5E58D74-7948-4ADB-9542-6C85FE27686A}" dt="2021-10-19T14:30:20.362" v="578" actId="26606"/>
          <ac:spMkLst>
            <pc:docMk/>
            <pc:sldMk cId="983890126" sldId="263"/>
            <ac:spMk id="25" creationId="{240E5BD2-4019-4012-A1AA-628900E659E9}"/>
          </ac:spMkLst>
        </pc:spChg>
        <pc:picChg chg="mod">
          <ac:chgData name="Tan" userId="20e48cba-d982-468b-be47-641cf873d401" providerId="ADAL" clId="{F5E58D74-7948-4ADB-9542-6C85FE27686A}" dt="2021-10-19T14:30:20.362" v="578" actId="26606"/>
          <ac:picMkLst>
            <pc:docMk/>
            <pc:sldMk cId="983890126" sldId="263"/>
            <ac:picMk id="8" creationId="{A1EDD8C2-EF12-492E-B427-F90016588AE6}"/>
          </ac:picMkLst>
        </pc:picChg>
      </pc:sldChg>
      <pc:sldChg chg="delSp modSp mod">
        <pc:chgData name="Tan" userId="20e48cba-d982-468b-be47-641cf873d401" providerId="ADAL" clId="{F5E58D74-7948-4ADB-9542-6C85FE27686A}" dt="2021-10-19T15:10:17.357" v="1107"/>
        <pc:sldMkLst>
          <pc:docMk/>
          <pc:sldMk cId="1471037925" sldId="264"/>
        </pc:sldMkLst>
        <pc:spChg chg="del">
          <ac:chgData name="Tan" userId="20e48cba-d982-468b-be47-641cf873d401" providerId="ADAL" clId="{F5E58D74-7948-4ADB-9542-6C85FE27686A}" dt="2021-10-19T15:10:17.357" v="1107"/>
          <ac:spMkLst>
            <pc:docMk/>
            <pc:sldMk cId="1471037925" sldId="264"/>
            <ac:spMk id="3" creationId="{38667ABF-D5D5-46B7-BAE4-CE9A2C9AE544}"/>
          </ac:spMkLst>
        </pc:spChg>
        <pc:spChg chg="mod">
          <ac:chgData name="Tan" userId="20e48cba-d982-468b-be47-641cf873d401" providerId="ADAL" clId="{F5E58D74-7948-4ADB-9542-6C85FE27686A}" dt="2021-10-19T14:31:44.197" v="586" actId="14100"/>
          <ac:spMkLst>
            <pc:docMk/>
            <pc:sldMk cId="1471037925" sldId="264"/>
            <ac:spMk id="8" creationId="{ACEB79DF-3AAB-46EC-952C-7E091862C688}"/>
          </ac:spMkLst>
        </pc:spChg>
        <pc:graphicFrameChg chg="mod modGraphic">
          <ac:chgData name="Tan" userId="20e48cba-d982-468b-be47-641cf873d401" providerId="ADAL" clId="{F5E58D74-7948-4ADB-9542-6C85FE27686A}" dt="2021-10-19T14:31:16.996" v="582" actId="1076"/>
          <ac:graphicFrameMkLst>
            <pc:docMk/>
            <pc:sldMk cId="1471037925" sldId="264"/>
            <ac:graphicFrameMk id="2" creationId="{0ADCBCD8-6480-4A6B-8EBB-96F48644C21D}"/>
          </ac:graphicFrameMkLst>
        </pc:graphicFrameChg>
      </pc:sldChg>
      <pc:sldChg chg="addSp delSp modSp mod setBg setClrOvrMap">
        <pc:chgData name="Tan" userId="20e48cba-d982-468b-be47-641cf873d401" providerId="ADAL" clId="{F5E58D74-7948-4ADB-9542-6C85FE27686A}" dt="2021-10-19T15:10:17.357" v="1107"/>
        <pc:sldMkLst>
          <pc:docMk/>
          <pc:sldMk cId="2838950762" sldId="266"/>
        </pc:sldMkLst>
        <pc:spChg chg="del">
          <ac:chgData name="Tan" userId="20e48cba-d982-468b-be47-641cf873d401" providerId="ADAL" clId="{F5E58D74-7948-4ADB-9542-6C85FE27686A}" dt="2021-10-19T15:10:17.357" v="1107"/>
          <ac:spMkLst>
            <pc:docMk/>
            <pc:sldMk cId="2838950762" sldId="266"/>
            <ac:spMk id="2" creationId="{E442C244-CF1D-477D-89A3-B7488A4BB4D0}"/>
          </ac:spMkLst>
        </pc:spChg>
        <pc:spChg chg="mod">
          <ac:chgData name="Tan" userId="20e48cba-d982-468b-be47-641cf873d401" providerId="ADAL" clId="{F5E58D74-7948-4ADB-9542-6C85FE27686A}" dt="2021-10-19T13:23:47.628" v="23" actId="20577"/>
          <ac:spMkLst>
            <pc:docMk/>
            <pc:sldMk cId="2838950762" sldId="266"/>
            <ac:spMk id="15" creationId="{64ED2569-20A0-47A1-8AA6-84B44A3C6106}"/>
          </ac:spMkLst>
        </pc:spChg>
        <pc:spChg chg="add del">
          <ac:chgData name="Tan" userId="20e48cba-d982-468b-be47-641cf873d401" providerId="ADAL" clId="{F5E58D74-7948-4ADB-9542-6C85FE27686A}" dt="2021-10-19T13:22:23.241" v="1" actId="26606"/>
          <ac:spMkLst>
            <pc:docMk/>
            <pc:sldMk cId="2838950762" sldId="266"/>
            <ac:spMk id="20" creationId="{9AA72BD9-2C5A-4EDC-931F-5AA08EACA0F3}"/>
          </ac:spMkLst>
        </pc:spChg>
        <pc:spChg chg="add del">
          <ac:chgData name="Tan" userId="20e48cba-d982-468b-be47-641cf873d401" providerId="ADAL" clId="{F5E58D74-7948-4ADB-9542-6C85FE27686A}" dt="2021-10-19T13:22:23.241" v="1" actId="26606"/>
          <ac:spMkLst>
            <pc:docMk/>
            <pc:sldMk cId="2838950762" sldId="266"/>
            <ac:spMk id="22" creationId="{DD3981AC-7B61-4947-BCF3-F7AA7FA385B9}"/>
          </ac:spMkLst>
        </pc:spChg>
        <pc:spChg chg="add del">
          <ac:chgData name="Tan" userId="20e48cba-d982-468b-be47-641cf873d401" providerId="ADAL" clId="{F5E58D74-7948-4ADB-9542-6C85FE27686A}" dt="2021-10-19T13:22:23.241" v="1" actId="26606"/>
          <ac:spMkLst>
            <pc:docMk/>
            <pc:sldMk cId="2838950762" sldId="266"/>
            <ac:spMk id="24" creationId="{55D4142C-5077-457F-A6AD-3FECFDB39685}"/>
          </ac:spMkLst>
        </pc:spChg>
        <pc:spChg chg="add del">
          <ac:chgData name="Tan" userId="20e48cba-d982-468b-be47-641cf873d401" providerId="ADAL" clId="{F5E58D74-7948-4ADB-9542-6C85FE27686A}" dt="2021-10-19T13:22:23.241" v="1" actId="26606"/>
          <ac:spMkLst>
            <pc:docMk/>
            <pc:sldMk cId="2838950762" sldId="266"/>
            <ac:spMk id="26" creationId="{7A5F0580-5EE9-419F-96EE-B6529EF6E7D0}"/>
          </ac:spMkLst>
        </pc:spChg>
        <pc:spChg chg="add del">
          <ac:chgData name="Tan" userId="20e48cba-d982-468b-be47-641cf873d401" providerId="ADAL" clId="{F5E58D74-7948-4ADB-9542-6C85FE27686A}" dt="2021-10-19T13:22:25.153" v="3" actId="26606"/>
          <ac:spMkLst>
            <pc:docMk/>
            <pc:sldMk cId="2838950762" sldId="266"/>
            <ac:spMk id="28" creationId="{21A75659-5A6F-4F77-9679-678A00B9D8DC}"/>
          </ac:spMkLst>
        </pc:spChg>
        <pc:spChg chg="add del">
          <ac:chgData name="Tan" userId="20e48cba-d982-468b-be47-641cf873d401" providerId="ADAL" clId="{F5E58D74-7948-4ADB-9542-6C85FE27686A}" dt="2021-10-19T13:22:25.153" v="3" actId="26606"/>
          <ac:spMkLst>
            <pc:docMk/>
            <pc:sldMk cId="2838950762" sldId="266"/>
            <ac:spMk id="29" creationId="{E30A3A45-140E-431E-AED0-07EF836310B3}"/>
          </ac:spMkLst>
        </pc:spChg>
        <pc:spChg chg="add del">
          <ac:chgData name="Tan" userId="20e48cba-d982-468b-be47-641cf873d401" providerId="ADAL" clId="{F5E58D74-7948-4ADB-9542-6C85FE27686A}" dt="2021-10-19T13:22:25.153" v="3" actId="26606"/>
          <ac:spMkLst>
            <pc:docMk/>
            <pc:sldMk cId="2838950762" sldId="266"/>
            <ac:spMk id="30" creationId="{55D4142C-5077-457F-A6AD-3FECFDB39685}"/>
          </ac:spMkLst>
        </pc:spChg>
        <pc:spChg chg="add del">
          <ac:chgData name="Tan" userId="20e48cba-d982-468b-be47-641cf873d401" providerId="ADAL" clId="{F5E58D74-7948-4ADB-9542-6C85FE27686A}" dt="2021-10-19T13:22:25.153" v="3" actId="26606"/>
          <ac:spMkLst>
            <pc:docMk/>
            <pc:sldMk cId="2838950762" sldId="266"/>
            <ac:spMk id="31" creationId="{7A5F0580-5EE9-419F-96EE-B6529EF6E7D0}"/>
          </ac:spMkLst>
        </pc:spChg>
        <pc:spChg chg="add del">
          <ac:chgData name="Tan" userId="20e48cba-d982-468b-be47-641cf873d401" providerId="ADAL" clId="{F5E58D74-7948-4ADB-9542-6C85FE27686A}" dt="2021-10-19T13:22:27.105" v="5" actId="26606"/>
          <ac:spMkLst>
            <pc:docMk/>
            <pc:sldMk cId="2838950762" sldId="266"/>
            <ac:spMk id="33" creationId="{8FC9BE17-9A7B-462D-AE50-3D8777387304}"/>
          </ac:spMkLst>
        </pc:spChg>
        <pc:spChg chg="add del">
          <ac:chgData name="Tan" userId="20e48cba-d982-468b-be47-641cf873d401" providerId="ADAL" clId="{F5E58D74-7948-4ADB-9542-6C85FE27686A}" dt="2021-10-19T13:22:27.105" v="5" actId="26606"/>
          <ac:spMkLst>
            <pc:docMk/>
            <pc:sldMk cId="2838950762" sldId="266"/>
            <ac:spMk id="34" creationId="{3EBE8569-6AEC-4B8C-8D53-2DE337CDBA65}"/>
          </ac:spMkLst>
        </pc:spChg>
        <pc:spChg chg="add del">
          <ac:chgData name="Tan" userId="20e48cba-d982-468b-be47-641cf873d401" providerId="ADAL" clId="{F5E58D74-7948-4ADB-9542-6C85FE27686A}" dt="2021-10-19T13:22:27.105" v="5" actId="26606"/>
          <ac:spMkLst>
            <pc:docMk/>
            <pc:sldMk cId="2838950762" sldId="266"/>
            <ac:spMk id="35" creationId="{55D4142C-5077-457F-A6AD-3FECFDB39685}"/>
          </ac:spMkLst>
        </pc:spChg>
        <pc:spChg chg="add del">
          <ac:chgData name="Tan" userId="20e48cba-d982-468b-be47-641cf873d401" providerId="ADAL" clId="{F5E58D74-7948-4ADB-9542-6C85FE27686A}" dt="2021-10-19T13:22:27.105" v="5" actId="26606"/>
          <ac:spMkLst>
            <pc:docMk/>
            <pc:sldMk cId="2838950762" sldId="266"/>
            <ac:spMk id="36" creationId="{7A5F0580-5EE9-419F-96EE-B6529EF6E7D0}"/>
          </ac:spMkLst>
        </pc:spChg>
        <pc:spChg chg="add del">
          <ac:chgData name="Tan" userId="20e48cba-d982-468b-be47-641cf873d401" providerId="ADAL" clId="{F5E58D74-7948-4ADB-9542-6C85FE27686A}" dt="2021-10-19T13:23:30.643" v="16" actId="26606"/>
          <ac:spMkLst>
            <pc:docMk/>
            <pc:sldMk cId="2838950762" sldId="266"/>
            <ac:spMk id="38" creationId="{8F23F8A3-8FD7-4779-8323-FDC26BE99889}"/>
          </ac:spMkLst>
        </pc:spChg>
        <pc:spChg chg="add del">
          <ac:chgData name="Tan" userId="20e48cba-d982-468b-be47-641cf873d401" providerId="ADAL" clId="{F5E58D74-7948-4ADB-9542-6C85FE27686A}" dt="2021-10-19T13:23:30.643" v="16" actId="26606"/>
          <ac:spMkLst>
            <pc:docMk/>
            <pc:sldMk cId="2838950762" sldId="266"/>
            <ac:spMk id="39" creationId="{F605C4CC-A25C-416F-8333-7CB7DC97D870}"/>
          </ac:spMkLst>
        </pc:spChg>
        <pc:spChg chg="add del">
          <ac:chgData name="Tan" userId="20e48cba-d982-468b-be47-641cf873d401" providerId="ADAL" clId="{F5E58D74-7948-4ADB-9542-6C85FE27686A}" dt="2021-10-19T13:23:30.635" v="15" actId="26606"/>
          <ac:spMkLst>
            <pc:docMk/>
            <pc:sldMk cId="2838950762" sldId="266"/>
            <ac:spMk id="44" creationId="{657F69E0-C4B0-4BEC-A689-4F8D877F05D4}"/>
          </ac:spMkLst>
        </pc:spChg>
        <pc:spChg chg="add del">
          <ac:chgData name="Tan" userId="20e48cba-d982-468b-be47-641cf873d401" providerId="ADAL" clId="{F5E58D74-7948-4ADB-9542-6C85FE27686A}" dt="2021-10-19T13:23:30.635" v="15" actId="26606"/>
          <ac:spMkLst>
            <pc:docMk/>
            <pc:sldMk cId="2838950762" sldId="266"/>
            <ac:spMk id="46" creationId="{9F6380B4-6A1C-481E-8408-B4E6C75B9B81}"/>
          </ac:spMkLst>
        </pc:spChg>
        <pc:spChg chg="add">
          <ac:chgData name="Tan" userId="20e48cba-d982-468b-be47-641cf873d401" providerId="ADAL" clId="{F5E58D74-7948-4ADB-9542-6C85FE27686A}" dt="2021-10-19T13:23:30.643" v="16" actId="26606"/>
          <ac:spMkLst>
            <pc:docMk/>
            <pc:sldMk cId="2838950762" sldId="266"/>
            <ac:spMk id="48" creationId="{AF2F604E-43BE-4DC3-B983-E071523364F8}"/>
          </ac:spMkLst>
        </pc:spChg>
        <pc:spChg chg="add">
          <ac:chgData name="Tan" userId="20e48cba-d982-468b-be47-641cf873d401" providerId="ADAL" clId="{F5E58D74-7948-4ADB-9542-6C85FE27686A}" dt="2021-10-19T13:23:30.643" v="16" actId="26606"/>
          <ac:spMkLst>
            <pc:docMk/>
            <pc:sldMk cId="2838950762" sldId="266"/>
            <ac:spMk id="49" creationId="{0671A8AE-40A1-4631-A6B8-581AFF065482}"/>
          </ac:spMkLst>
        </pc:spChg>
        <pc:spChg chg="add">
          <ac:chgData name="Tan" userId="20e48cba-d982-468b-be47-641cf873d401" providerId="ADAL" clId="{F5E58D74-7948-4ADB-9542-6C85FE27686A}" dt="2021-10-19T13:23:30.643" v="16" actId="26606"/>
          <ac:spMkLst>
            <pc:docMk/>
            <pc:sldMk cId="2838950762" sldId="266"/>
            <ac:spMk id="50" creationId="{08C9B587-E65E-4B52-B37C-ABEBB6E87928}"/>
          </ac:spMkLst>
        </pc:spChg>
        <pc:spChg chg="add">
          <ac:chgData name="Tan" userId="20e48cba-d982-468b-be47-641cf873d401" providerId="ADAL" clId="{F5E58D74-7948-4ADB-9542-6C85FE27686A}" dt="2021-10-19T13:23:30.643" v="16" actId="26606"/>
          <ac:spMkLst>
            <pc:docMk/>
            <pc:sldMk cId="2838950762" sldId="266"/>
            <ac:spMk id="51" creationId="{AB58EF07-17C2-48CF-ABB0-EEF1F17CB8F0}"/>
          </ac:spMkLst>
        </pc:spChg>
        <pc:picChg chg="mod">
          <ac:chgData name="Tan" userId="20e48cba-d982-468b-be47-641cf873d401" providerId="ADAL" clId="{F5E58D74-7948-4ADB-9542-6C85FE27686A}" dt="2021-10-19T13:23:30.643" v="16" actId="26606"/>
          <ac:picMkLst>
            <pc:docMk/>
            <pc:sldMk cId="2838950762" sldId="266"/>
            <ac:picMk id="3" creationId="{6FA5B230-C01C-405F-B748-0840C62625C2}"/>
          </ac:picMkLst>
        </pc:picChg>
      </pc:sldChg>
      <pc:sldChg chg="setBg">
        <pc:chgData name="Tan" userId="20e48cba-d982-468b-be47-641cf873d401" providerId="ADAL" clId="{F5E58D74-7948-4ADB-9542-6C85FE27686A}" dt="2021-10-19T13:30:26.910" v="145"/>
        <pc:sldMkLst>
          <pc:docMk/>
          <pc:sldMk cId="0" sldId="272"/>
        </pc:sldMkLst>
      </pc:sldChg>
      <pc:sldChg chg="addSp delSp modSp mod">
        <pc:chgData name="Tan" userId="20e48cba-d982-468b-be47-641cf873d401" providerId="ADAL" clId="{F5E58D74-7948-4ADB-9542-6C85FE27686A}" dt="2021-10-19T15:23:52.583" v="1169" actId="20577"/>
        <pc:sldMkLst>
          <pc:docMk/>
          <pc:sldMk cId="942637165" sldId="311"/>
        </pc:sldMkLst>
        <pc:spChg chg="del">
          <ac:chgData name="Tan" userId="20e48cba-d982-468b-be47-641cf873d401" providerId="ADAL" clId="{F5E58D74-7948-4ADB-9542-6C85FE27686A}" dt="2021-10-19T15:10:17.357" v="1107"/>
          <ac:spMkLst>
            <pc:docMk/>
            <pc:sldMk cId="942637165" sldId="311"/>
            <ac:spMk id="4" creationId="{8BAD3BC3-B9BE-44A2-848A-64E68CCEABA9}"/>
          </ac:spMkLst>
        </pc:spChg>
        <pc:spChg chg="mod">
          <ac:chgData name="Tan" userId="20e48cba-d982-468b-be47-641cf873d401" providerId="ADAL" clId="{F5E58D74-7948-4ADB-9542-6C85FE27686A}" dt="2021-10-19T13:26:47.783" v="89" actId="12"/>
          <ac:spMkLst>
            <pc:docMk/>
            <pc:sldMk cId="942637165" sldId="311"/>
            <ac:spMk id="5" creationId="{E6C5A9CF-5976-4A87-A1D6-BFF741EA3B3D}"/>
          </ac:spMkLst>
        </pc:spChg>
        <pc:spChg chg="mod">
          <ac:chgData name="Tan" userId="20e48cba-d982-468b-be47-641cf873d401" providerId="ADAL" clId="{F5E58D74-7948-4ADB-9542-6C85FE27686A}" dt="2021-10-19T13:26:51.274" v="90" actId="12"/>
          <ac:spMkLst>
            <pc:docMk/>
            <pc:sldMk cId="942637165" sldId="311"/>
            <ac:spMk id="12" creationId="{61A27681-F815-48B9-9A9A-5A841B6F593D}"/>
          </ac:spMkLst>
        </pc:spChg>
        <pc:spChg chg="mod">
          <ac:chgData name="Tan" userId="20e48cba-d982-468b-be47-641cf873d401" providerId="ADAL" clId="{F5E58D74-7948-4ADB-9542-6C85FE27686A}" dt="2021-10-19T13:26:55.471" v="91" actId="12"/>
          <ac:spMkLst>
            <pc:docMk/>
            <pc:sldMk cId="942637165" sldId="311"/>
            <ac:spMk id="13" creationId="{64AA3AAF-CF52-4C62-B10F-9B4FBF0E2EC1}"/>
          </ac:spMkLst>
        </pc:spChg>
        <pc:spChg chg="mod">
          <ac:chgData name="Tan" userId="20e48cba-d982-468b-be47-641cf873d401" providerId="ADAL" clId="{F5E58D74-7948-4ADB-9542-6C85FE27686A}" dt="2021-10-19T15:23:52.583" v="1169" actId="20577"/>
          <ac:spMkLst>
            <pc:docMk/>
            <pc:sldMk cId="942637165" sldId="311"/>
            <ac:spMk id="16" creationId="{7B630D99-5317-410F-9E2A-F544221C8E1A}"/>
          </ac:spMkLst>
        </pc:spChg>
        <pc:grpChg chg="add mod">
          <ac:chgData name="Tan" userId="20e48cba-d982-468b-be47-641cf873d401" providerId="ADAL" clId="{F5E58D74-7948-4ADB-9542-6C85FE27686A}" dt="2021-10-19T13:27:03.553" v="92" actId="1076"/>
          <ac:grpSpMkLst>
            <pc:docMk/>
            <pc:sldMk cId="942637165" sldId="311"/>
            <ac:grpSpMk id="2" creationId="{820DB3A4-7B75-4432-B5F3-7D201201BFB7}"/>
          </ac:grpSpMkLst>
        </pc:grpChg>
        <pc:picChg chg="mod">
          <ac:chgData name="Tan" userId="20e48cba-d982-468b-be47-641cf873d401" providerId="ADAL" clId="{F5E58D74-7948-4ADB-9542-6C85FE27686A}" dt="2021-10-19T15:15:34.534" v="1108" actId="14100"/>
          <ac:picMkLst>
            <pc:docMk/>
            <pc:sldMk cId="942637165" sldId="311"/>
            <ac:picMk id="7" creationId="{A5A457B4-22ED-430C-AAF3-62DEC2689BD5}"/>
          </ac:picMkLst>
        </pc:picChg>
      </pc:sldChg>
      <pc:sldChg chg="addSp delSp modSp mod">
        <pc:chgData name="Tan" userId="20e48cba-d982-468b-be47-641cf873d401" providerId="ADAL" clId="{F5E58D74-7948-4ADB-9542-6C85FE27686A}" dt="2021-10-19T15:10:17.357" v="1107"/>
        <pc:sldMkLst>
          <pc:docMk/>
          <pc:sldMk cId="4276621269" sldId="312"/>
        </pc:sldMkLst>
        <pc:spChg chg="del">
          <ac:chgData name="Tan" userId="20e48cba-d982-468b-be47-641cf873d401" providerId="ADAL" clId="{F5E58D74-7948-4ADB-9542-6C85FE27686A}" dt="2021-10-19T15:10:17.357" v="1107"/>
          <ac:spMkLst>
            <pc:docMk/>
            <pc:sldMk cId="4276621269" sldId="312"/>
            <ac:spMk id="2" creationId="{F7262007-3971-4797-BA18-B3E233F6FC72}"/>
          </ac:spMkLst>
        </pc:spChg>
        <pc:spChg chg="mod">
          <ac:chgData name="Tan" userId="20e48cba-d982-468b-be47-641cf873d401" providerId="ADAL" clId="{F5E58D74-7948-4ADB-9542-6C85FE27686A}" dt="2021-10-19T14:28:58.698" v="567" actId="20577"/>
          <ac:spMkLst>
            <pc:docMk/>
            <pc:sldMk cId="4276621269" sldId="312"/>
            <ac:spMk id="8" creationId="{E45C4B50-56CA-4F24-9DAC-E10D7B0E27C4}"/>
          </ac:spMkLst>
        </pc:spChg>
        <pc:picChg chg="mod">
          <ac:chgData name="Tan" userId="20e48cba-d982-468b-be47-641cf873d401" providerId="ADAL" clId="{F5E58D74-7948-4ADB-9542-6C85FE27686A}" dt="2021-10-19T14:26:31.238" v="528" actId="1076"/>
          <ac:picMkLst>
            <pc:docMk/>
            <pc:sldMk cId="4276621269" sldId="312"/>
            <ac:picMk id="7" creationId="{89A3114E-E64B-4F03-8117-991760B5B562}"/>
          </ac:picMkLst>
        </pc:picChg>
        <pc:picChg chg="mod">
          <ac:chgData name="Tan" userId="20e48cba-d982-468b-be47-641cf873d401" providerId="ADAL" clId="{F5E58D74-7948-4ADB-9542-6C85FE27686A}" dt="2021-10-19T14:26:29.683" v="527" actId="1076"/>
          <ac:picMkLst>
            <pc:docMk/>
            <pc:sldMk cId="4276621269" sldId="312"/>
            <ac:picMk id="9" creationId="{E6236703-7EE1-4872-B9FB-EB91F25ACF63}"/>
          </ac:picMkLst>
        </pc:picChg>
        <pc:cxnChg chg="add mod">
          <ac:chgData name="Tan" userId="20e48cba-d982-468b-be47-641cf873d401" providerId="ADAL" clId="{F5E58D74-7948-4ADB-9542-6C85FE27686A}" dt="2021-10-19T14:27:52.775" v="551" actId="1076"/>
          <ac:cxnSpMkLst>
            <pc:docMk/>
            <pc:sldMk cId="4276621269" sldId="312"/>
            <ac:cxnSpMk id="10" creationId="{BAD4A35F-2EA7-4B11-B159-A3B4F74E432A}"/>
          </ac:cxnSpMkLst>
        </pc:cxnChg>
      </pc:sldChg>
      <pc:sldChg chg="delSp modSp mod">
        <pc:chgData name="Tan" userId="20e48cba-d982-468b-be47-641cf873d401" providerId="ADAL" clId="{F5E58D74-7948-4ADB-9542-6C85FE27686A}" dt="2021-10-19T15:10:17.357" v="1107"/>
        <pc:sldMkLst>
          <pc:docMk/>
          <pc:sldMk cId="3426313049" sldId="313"/>
        </pc:sldMkLst>
        <pc:spChg chg="del">
          <ac:chgData name="Tan" userId="20e48cba-d982-468b-be47-641cf873d401" providerId="ADAL" clId="{F5E58D74-7948-4ADB-9542-6C85FE27686A}" dt="2021-10-19T15:10:17.357" v="1107"/>
          <ac:spMkLst>
            <pc:docMk/>
            <pc:sldMk cId="3426313049" sldId="313"/>
            <ac:spMk id="3" creationId="{CACF6D5D-EB74-4859-B313-56F4C27AF04A}"/>
          </ac:spMkLst>
        </pc:spChg>
        <pc:spChg chg="mod">
          <ac:chgData name="Tan" userId="20e48cba-d982-468b-be47-641cf873d401" providerId="ADAL" clId="{F5E58D74-7948-4ADB-9542-6C85FE27686A}" dt="2021-10-19T14:25:25.979" v="519" actId="1076"/>
          <ac:spMkLst>
            <pc:docMk/>
            <pc:sldMk cId="3426313049" sldId="313"/>
            <ac:spMk id="4" creationId="{B6BF43DD-77E7-4B58-8278-E897D0AF2C1F}"/>
          </ac:spMkLst>
        </pc:spChg>
      </pc:sldChg>
      <pc:sldChg chg="addSp delSp modSp mod">
        <pc:chgData name="Tan" userId="20e48cba-d982-468b-be47-641cf873d401" providerId="ADAL" clId="{F5E58D74-7948-4ADB-9542-6C85FE27686A}" dt="2021-10-19T15:26:11.478" v="1209" actId="1076"/>
        <pc:sldMkLst>
          <pc:docMk/>
          <pc:sldMk cId="2469131820" sldId="314"/>
        </pc:sldMkLst>
        <pc:spChg chg="mod">
          <ac:chgData name="Tan" userId="20e48cba-d982-468b-be47-641cf873d401" providerId="ADAL" clId="{F5E58D74-7948-4ADB-9542-6C85FE27686A}" dt="2021-10-19T14:27:21.323" v="543" actId="1076"/>
          <ac:spMkLst>
            <pc:docMk/>
            <pc:sldMk cId="2469131820" sldId="314"/>
            <ac:spMk id="3" creationId="{1842065C-BC47-4FF5-AB38-5B8D13CB44EE}"/>
          </ac:spMkLst>
        </pc:spChg>
        <pc:spChg chg="mod">
          <ac:chgData name="Tan" userId="20e48cba-d982-468b-be47-641cf873d401" providerId="ADAL" clId="{F5E58D74-7948-4ADB-9542-6C85FE27686A}" dt="2021-10-19T15:26:11.478" v="1209" actId="1076"/>
          <ac:spMkLst>
            <pc:docMk/>
            <pc:sldMk cId="2469131820" sldId="314"/>
            <ac:spMk id="4" creationId="{14C27AA5-F23F-4472-8BB5-152DA0709D9D}"/>
          </ac:spMkLst>
        </pc:spChg>
        <pc:spChg chg="mod">
          <ac:chgData name="Tan" userId="20e48cba-d982-468b-be47-641cf873d401" providerId="ADAL" clId="{F5E58D74-7948-4ADB-9542-6C85FE27686A}" dt="2021-10-19T14:27:17.927" v="542" actId="1076"/>
          <ac:spMkLst>
            <pc:docMk/>
            <pc:sldMk cId="2469131820" sldId="314"/>
            <ac:spMk id="7" creationId="{83860292-1F05-4A57-882B-8A78216F11FF}"/>
          </ac:spMkLst>
        </pc:spChg>
        <pc:spChg chg="mod">
          <ac:chgData name="Tan" userId="20e48cba-d982-468b-be47-641cf873d401" providerId="ADAL" clId="{F5E58D74-7948-4ADB-9542-6C85FE27686A}" dt="2021-10-19T14:27:23.640" v="544" actId="1076"/>
          <ac:spMkLst>
            <pc:docMk/>
            <pc:sldMk cId="2469131820" sldId="314"/>
            <ac:spMk id="8" creationId="{2E271191-CEBC-4882-B336-F30978B33968}"/>
          </ac:spMkLst>
        </pc:spChg>
        <pc:spChg chg="mod">
          <ac:chgData name="Tan" userId="20e48cba-d982-468b-be47-641cf873d401" providerId="ADAL" clId="{F5E58D74-7948-4ADB-9542-6C85FE27686A}" dt="2021-10-19T15:26:05.701" v="1207" actId="1076"/>
          <ac:spMkLst>
            <pc:docMk/>
            <pc:sldMk cId="2469131820" sldId="314"/>
            <ac:spMk id="9" creationId="{FE53DFC1-E809-4964-8447-D19B74AB7A22}"/>
          </ac:spMkLst>
        </pc:spChg>
        <pc:spChg chg="mod">
          <ac:chgData name="Tan" userId="20e48cba-d982-468b-be47-641cf873d401" providerId="ADAL" clId="{F5E58D74-7948-4ADB-9542-6C85FE27686A}" dt="2021-10-19T14:27:31.300" v="546" actId="1076"/>
          <ac:spMkLst>
            <pc:docMk/>
            <pc:sldMk cId="2469131820" sldId="314"/>
            <ac:spMk id="10" creationId="{629F9040-FB99-4D99-A60D-05B834F42C14}"/>
          </ac:spMkLst>
        </pc:spChg>
        <pc:spChg chg="del">
          <ac:chgData name="Tan" userId="20e48cba-d982-468b-be47-641cf873d401" providerId="ADAL" clId="{F5E58D74-7948-4ADB-9542-6C85FE27686A}" dt="2021-10-19T15:10:17.357" v="1107"/>
          <ac:spMkLst>
            <pc:docMk/>
            <pc:sldMk cId="2469131820" sldId="314"/>
            <ac:spMk id="11" creationId="{14554EFA-2737-4E1D-AC0D-6E882312DA58}"/>
          </ac:spMkLst>
        </pc:spChg>
        <pc:spChg chg="mod">
          <ac:chgData name="Tan" userId="20e48cba-d982-468b-be47-641cf873d401" providerId="ADAL" clId="{F5E58D74-7948-4ADB-9542-6C85FE27686A}" dt="2021-10-19T14:28:43.059" v="564" actId="1076"/>
          <ac:spMkLst>
            <pc:docMk/>
            <pc:sldMk cId="2469131820" sldId="314"/>
            <ac:spMk id="12" creationId="{50E4282D-0646-40E2-95A5-C91A80FED8A0}"/>
          </ac:spMkLst>
        </pc:spChg>
        <pc:picChg chg="mod">
          <ac:chgData name="Tan" userId="20e48cba-d982-468b-be47-641cf873d401" providerId="ADAL" clId="{F5E58D74-7948-4ADB-9542-6C85FE27686A}" dt="2021-10-19T14:27:14.740" v="541" actId="1076"/>
          <ac:picMkLst>
            <pc:docMk/>
            <pc:sldMk cId="2469131820" sldId="314"/>
            <ac:picMk id="2" creationId="{DBE95054-5A5C-48E9-8E60-3B5EFA744AC8}"/>
          </ac:picMkLst>
        </pc:picChg>
        <pc:cxnChg chg="add mod">
          <ac:chgData name="Tan" userId="20e48cba-d982-468b-be47-641cf873d401" providerId="ADAL" clId="{F5E58D74-7948-4ADB-9542-6C85FE27686A}" dt="2021-10-19T14:28:03.052" v="554" actId="1076"/>
          <ac:cxnSpMkLst>
            <pc:docMk/>
            <pc:sldMk cId="2469131820" sldId="314"/>
            <ac:cxnSpMk id="13" creationId="{4980EA1F-4930-4EFC-832F-060A339EB186}"/>
          </ac:cxnSpMkLst>
        </pc:cxnChg>
      </pc:sldChg>
      <pc:sldChg chg="delSp modSp mod">
        <pc:chgData name="Tan" userId="20e48cba-d982-468b-be47-641cf873d401" providerId="ADAL" clId="{F5E58D74-7948-4ADB-9542-6C85FE27686A}" dt="2021-10-19T15:10:17.357" v="1107"/>
        <pc:sldMkLst>
          <pc:docMk/>
          <pc:sldMk cId="1942348074" sldId="315"/>
        </pc:sldMkLst>
        <pc:spChg chg="del">
          <ac:chgData name="Tan" userId="20e48cba-d982-468b-be47-641cf873d401" providerId="ADAL" clId="{F5E58D74-7948-4ADB-9542-6C85FE27686A}" dt="2021-10-19T15:10:17.357" v="1107"/>
          <ac:spMkLst>
            <pc:docMk/>
            <pc:sldMk cId="1942348074" sldId="315"/>
            <ac:spMk id="3" creationId="{604BDC4A-A910-4B49-84EC-ED522C9F55EE}"/>
          </ac:spMkLst>
        </pc:spChg>
        <pc:spChg chg="mod">
          <ac:chgData name="Tan" userId="20e48cba-d982-468b-be47-641cf873d401" providerId="ADAL" clId="{F5E58D74-7948-4ADB-9542-6C85FE27686A}" dt="2021-10-19T14:32:31.320" v="593" actId="14100"/>
          <ac:spMkLst>
            <pc:docMk/>
            <pc:sldMk cId="1942348074" sldId="315"/>
            <ac:spMk id="6" creationId="{FC652EF3-B629-4486-B407-7AF42C33E08C}"/>
          </ac:spMkLst>
        </pc:spChg>
        <pc:graphicFrameChg chg="mod">
          <ac:chgData name="Tan" userId="20e48cba-d982-468b-be47-641cf873d401" providerId="ADAL" clId="{F5E58D74-7948-4ADB-9542-6C85FE27686A}" dt="2021-10-19T14:32:22.446" v="591" actId="1076"/>
          <ac:graphicFrameMkLst>
            <pc:docMk/>
            <pc:sldMk cId="1942348074" sldId="315"/>
            <ac:graphicFrameMk id="2" creationId="{BDEDC1FB-A621-4538-8703-BC7FAD8FD25C}"/>
          </ac:graphicFrameMkLst>
        </pc:graphicFrameChg>
      </pc:sldChg>
      <pc:sldChg chg="delSp modSp mod">
        <pc:chgData name="Tan" userId="20e48cba-d982-468b-be47-641cf873d401" providerId="ADAL" clId="{F5E58D74-7948-4ADB-9542-6C85FE27686A}" dt="2021-10-19T15:10:17.357" v="1107"/>
        <pc:sldMkLst>
          <pc:docMk/>
          <pc:sldMk cId="2840091132" sldId="316"/>
        </pc:sldMkLst>
        <pc:spChg chg="del">
          <ac:chgData name="Tan" userId="20e48cba-d982-468b-be47-641cf873d401" providerId="ADAL" clId="{F5E58D74-7948-4ADB-9542-6C85FE27686A}" dt="2021-10-19T15:10:17.357" v="1107"/>
          <ac:spMkLst>
            <pc:docMk/>
            <pc:sldMk cId="2840091132" sldId="316"/>
            <ac:spMk id="3" creationId="{51C3205A-09DF-45D1-A784-D086D7104339}"/>
          </ac:spMkLst>
        </pc:spChg>
        <pc:spChg chg="mod">
          <ac:chgData name="Tan" userId="20e48cba-d982-468b-be47-641cf873d401" providerId="ADAL" clId="{F5E58D74-7948-4ADB-9542-6C85FE27686A}" dt="2021-10-19T14:33:06.871" v="599" actId="1076"/>
          <ac:spMkLst>
            <pc:docMk/>
            <pc:sldMk cId="2840091132" sldId="316"/>
            <ac:spMk id="6" creationId="{E27B92E4-B9B2-4FE2-822D-E15326354928}"/>
          </ac:spMkLst>
        </pc:spChg>
        <pc:graphicFrameChg chg="mod modGraphic">
          <ac:chgData name="Tan" userId="20e48cba-d982-468b-be47-641cf873d401" providerId="ADAL" clId="{F5E58D74-7948-4ADB-9542-6C85FE27686A}" dt="2021-10-19T14:33:17.057" v="603" actId="14100"/>
          <ac:graphicFrameMkLst>
            <pc:docMk/>
            <pc:sldMk cId="2840091132" sldId="316"/>
            <ac:graphicFrameMk id="2" creationId="{EC17FD42-03F8-4F72-B551-5E15079E50DD}"/>
          </ac:graphicFrameMkLst>
        </pc:graphicFrameChg>
      </pc:sldChg>
      <pc:sldChg chg="del">
        <pc:chgData name="Tan" userId="20e48cba-d982-468b-be47-641cf873d401" providerId="ADAL" clId="{F5E58D74-7948-4ADB-9542-6C85FE27686A}" dt="2021-10-19T14:29:59.261" v="575" actId="47"/>
        <pc:sldMkLst>
          <pc:docMk/>
          <pc:sldMk cId="3030876018" sldId="317"/>
        </pc:sldMkLst>
      </pc:sldChg>
      <pc:sldChg chg="addSp delSp modSp mod">
        <pc:chgData name="Tan" userId="20e48cba-d982-468b-be47-641cf873d401" providerId="ADAL" clId="{F5E58D74-7948-4ADB-9542-6C85FE27686A}" dt="2021-10-19T15:10:17.357" v="1107"/>
        <pc:sldMkLst>
          <pc:docMk/>
          <pc:sldMk cId="144855330" sldId="318"/>
        </pc:sldMkLst>
        <pc:spChg chg="mod">
          <ac:chgData name="Tan" userId="20e48cba-d982-468b-be47-641cf873d401" providerId="ADAL" clId="{F5E58D74-7948-4ADB-9542-6C85FE27686A}" dt="2021-10-19T14:29:14.391" v="569" actId="20577"/>
          <ac:spMkLst>
            <pc:docMk/>
            <pc:sldMk cId="144855330" sldId="318"/>
            <ac:spMk id="7" creationId="{D4EB952D-F694-4A05-B6D2-7F0B5AF04036}"/>
          </ac:spMkLst>
        </pc:spChg>
        <pc:spChg chg="mod">
          <ac:chgData name="Tan" userId="20e48cba-d982-468b-be47-641cf873d401" providerId="ADAL" clId="{F5E58D74-7948-4ADB-9542-6C85FE27686A}" dt="2021-10-19T14:29:25.244" v="572" actId="1076"/>
          <ac:spMkLst>
            <pc:docMk/>
            <pc:sldMk cId="144855330" sldId="318"/>
            <ac:spMk id="9" creationId="{FA8D25B3-D571-4488-A0CF-ADBEC5D6CA7E}"/>
          </ac:spMkLst>
        </pc:spChg>
        <pc:spChg chg="del">
          <ac:chgData name="Tan" userId="20e48cba-d982-468b-be47-641cf873d401" providerId="ADAL" clId="{F5E58D74-7948-4ADB-9542-6C85FE27686A}" dt="2021-10-19T15:10:17.357" v="1107"/>
          <ac:spMkLst>
            <pc:docMk/>
            <pc:sldMk cId="144855330" sldId="318"/>
            <ac:spMk id="11" creationId="{A1A4664A-A5F4-422D-9E1E-EDA1A26297D3}"/>
          </ac:spMkLst>
        </pc:spChg>
        <pc:picChg chg="mod">
          <ac:chgData name="Tan" userId="20e48cba-d982-468b-be47-641cf873d401" providerId="ADAL" clId="{F5E58D74-7948-4ADB-9542-6C85FE27686A}" dt="2021-10-19T14:25:57.834" v="522" actId="1076"/>
          <ac:picMkLst>
            <pc:docMk/>
            <pc:sldMk cId="144855330" sldId="318"/>
            <ac:picMk id="8" creationId="{BF218F6A-C862-47B7-869B-0920EA021818}"/>
          </ac:picMkLst>
        </pc:picChg>
        <pc:cxnChg chg="add mod">
          <ac:chgData name="Tan" userId="20e48cba-d982-468b-be47-641cf873d401" providerId="ADAL" clId="{F5E58D74-7948-4ADB-9542-6C85FE27686A}" dt="2021-10-19T14:26:19.935" v="525" actId="1076"/>
          <ac:cxnSpMkLst>
            <pc:docMk/>
            <pc:sldMk cId="144855330" sldId="318"/>
            <ac:cxnSpMk id="10" creationId="{F88E97CC-FA7A-47E9-8ACC-8FC0B9CE542B}"/>
          </ac:cxnSpMkLst>
        </pc:cxnChg>
      </pc:sldChg>
      <pc:sldChg chg="delSp modSp mod setBg">
        <pc:chgData name="Tan" userId="20e48cba-d982-468b-be47-641cf873d401" providerId="ADAL" clId="{F5E58D74-7948-4ADB-9542-6C85FE27686A}" dt="2021-10-19T15:32:54.944" v="1248" actId="20577"/>
        <pc:sldMkLst>
          <pc:docMk/>
          <pc:sldMk cId="59782169" sldId="319"/>
        </pc:sldMkLst>
        <pc:spChg chg="del">
          <ac:chgData name="Tan" userId="20e48cba-d982-468b-be47-641cf873d401" providerId="ADAL" clId="{F5E58D74-7948-4ADB-9542-6C85FE27686A}" dt="2021-10-19T15:10:17.357" v="1107"/>
          <ac:spMkLst>
            <pc:docMk/>
            <pc:sldMk cId="59782169" sldId="319"/>
            <ac:spMk id="2" creationId="{C99C8E30-0E5D-446B-9207-26BBE7D23133}"/>
          </ac:spMkLst>
        </pc:spChg>
        <pc:spChg chg="mod">
          <ac:chgData name="Tan" userId="20e48cba-d982-468b-be47-641cf873d401" providerId="ADAL" clId="{F5E58D74-7948-4ADB-9542-6C85FE27686A}" dt="2021-10-19T15:32:54.944" v="1248" actId="20577"/>
          <ac:spMkLst>
            <pc:docMk/>
            <pc:sldMk cId="59782169" sldId="319"/>
            <ac:spMk id="27" creationId="{846961D8-61BB-4898-A874-42A487CE975C}"/>
          </ac:spMkLst>
        </pc:spChg>
        <pc:spChg chg="mod">
          <ac:chgData name="Tan" userId="20e48cba-d982-468b-be47-641cf873d401" providerId="ADAL" clId="{F5E58D74-7948-4ADB-9542-6C85FE27686A}" dt="2021-10-19T15:32:21.981" v="1232" actId="1076"/>
          <ac:spMkLst>
            <pc:docMk/>
            <pc:sldMk cId="59782169" sldId="319"/>
            <ac:spMk id="29" creationId="{8ABC90B4-DA1C-42D4-A392-AAEFF2D6CF53}"/>
          </ac:spMkLst>
        </pc:spChg>
      </pc:sldChg>
      <pc:sldChg chg="addSp delSp modSp mod setBg setClrOvrMap">
        <pc:chgData name="Tan" userId="20e48cba-d982-468b-be47-641cf873d401" providerId="ADAL" clId="{F5E58D74-7948-4ADB-9542-6C85FE27686A}" dt="2021-10-19T15:27:11.736" v="1213" actId="20577"/>
        <pc:sldMkLst>
          <pc:docMk/>
          <pc:sldMk cId="439503566" sldId="321"/>
        </pc:sldMkLst>
        <pc:spChg chg="mod">
          <ac:chgData name="Tan" userId="20e48cba-d982-468b-be47-641cf873d401" providerId="ADAL" clId="{F5E58D74-7948-4ADB-9542-6C85FE27686A}" dt="2021-10-19T15:27:11.736" v="1213" actId="20577"/>
          <ac:spMkLst>
            <pc:docMk/>
            <pc:sldMk cId="439503566" sldId="321"/>
            <ac:spMk id="2" creationId="{96C5B25A-AA28-46E7-B3D7-78B4C74A3659}"/>
          </ac:spMkLst>
        </pc:spChg>
        <pc:spChg chg="del">
          <ac:chgData name="Tan" userId="20e48cba-d982-468b-be47-641cf873d401" providerId="ADAL" clId="{F5E58D74-7948-4ADB-9542-6C85FE27686A}" dt="2021-10-19T15:10:17.357" v="1107"/>
          <ac:spMkLst>
            <pc:docMk/>
            <pc:sldMk cId="439503566" sldId="321"/>
            <ac:spMk id="3" creationId="{4A30C68F-24C3-49D7-8867-A27A16FE1080}"/>
          </ac:spMkLst>
        </pc:spChg>
        <pc:spChg chg="mod">
          <ac:chgData name="Tan" userId="20e48cba-d982-468b-be47-641cf873d401" providerId="ADAL" clId="{F5E58D74-7948-4ADB-9542-6C85FE27686A}" dt="2021-10-19T15:27:04.377" v="1212" actId="26606"/>
          <ac:spMkLst>
            <pc:docMk/>
            <pc:sldMk cId="439503566" sldId="321"/>
            <ac:spMk id="6" creationId="{749B02E8-7633-4C3A-93F3-4CA21583D9B3}"/>
          </ac:spMkLst>
        </pc:spChg>
        <pc:spChg chg="add">
          <ac:chgData name="Tan" userId="20e48cba-d982-468b-be47-641cf873d401" providerId="ADAL" clId="{F5E58D74-7948-4ADB-9542-6C85FE27686A}" dt="2021-10-19T15:27:04.377" v="1212" actId="26606"/>
          <ac:spMkLst>
            <pc:docMk/>
            <pc:sldMk cId="439503566" sldId="321"/>
            <ac:spMk id="11" creationId="{71B2258F-86CA-4D4D-8270-BC05FCDEBFB3}"/>
          </ac:spMkLst>
        </pc:spChg>
        <pc:picChg chg="add del mod">
          <ac:chgData name="Tan" userId="20e48cba-d982-468b-be47-641cf873d401" providerId="ADAL" clId="{F5E58D74-7948-4ADB-9542-6C85FE27686A}" dt="2021-10-19T15:27:04.377" v="1212" actId="26606"/>
          <ac:picMkLst>
            <pc:docMk/>
            <pc:sldMk cId="439503566" sldId="321"/>
            <ac:picMk id="4" creationId="{183037AB-D1FD-4377-BB73-85D8EDA56D67}"/>
          </ac:picMkLst>
        </pc:picChg>
      </pc:sldChg>
      <pc:sldChg chg="delSp modSp mod setBg">
        <pc:chgData name="Tan" userId="20e48cba-d982-468b-be47-641cf873d401" providerId="ADAL" clId="{F5E58D74-7948-4ADB-9542-6C85FE27686A}" dt="2021-10-19T15:47:16.468" v="1264" actId="20577"/>
        <pc:sldMkLst>
          <pc:docMk/>
          <pc:sldMk cId="265307825" sldId="322"/>
        </pc:sldMkLst>
        <pc:spChg chg="mod">
          <ac:chgData name="Tan" userId="20e48cba-d982-468b-be47-641cf873d401" providerId="ADAL" clId="{F5E58D74-7948-4ADB-9542-6C85FE27686A}" dt="2021-10-19T13:24:21.980" v="29" actId="20577"/>
          <ac:spMkLst>
            <pc:docMk/>
            <pc:sldMk cId="265307825" sldId="322"/>
            <ac:spMk id="2" creationId="{8D7EA88D-7453-4DC4-9BF4-5A82E7F44615}"/>
          </ac:spMkLst>
        </pc:spChg>
        <pc:spChg chg="del">
          <ac:chgData name="Tan" userId="20e48cba-d982-468b-be47-641cf873d401" providerId="ADAL" clId="{F5E58D74-7948-4ADB-9542-6C85FE27686A}" dt="2021-10-19T15:10:17.357" v="1107"/>
          <ac:spMkLst>
            <pc:docMk/>
            <pc:sldMk cId="265307825" sldId="322"/>
            <ac:spMk id="3" creationId="{0C901729-6138-4A6E-B20A-66E8A2600ED1}"/>
          </ac:spMkLst>
        </pc:spChg>
        <pc:spChg chg="mod">
          <ac:chgData name="Tan" userId="20e48cba-d982-468b-be47-641cf873d401" providerId="ADAL" clId="{F5E58D74-7948-4ADB-9542-6C85FE27686A}" dt="2021-10-19T15:08:21.645" v="1098" actId="207"/>
          <ac:spMkLst>
            <pc:docMk/>
            <pc:sldMk cId="265307825" sldId="322"/>
            <ac:spMk id="6" creationId="{1D38FE4B-EEAA-4E84-8664-0C1DB78425B5}"/>
          </ac:spMkLst>
        </pc:spChg>
        <pc:spChg chg="mod">
          <ac:chgData name="Tan" userId="20e48cba-d982-468b-be47-641cf873d401" providerId="ADAL" clId="{F5E58D74-7948-4ADB-9542-6C85FE27686A}" dt="2021-10-19T15:08:21.645" v="1098" actId="207"/>
          <ac:spMkLst>
            <pc:docMk/>
            <pc:sldMk cId="265307825" sldId="322"/>
            <ac:spMk id="12" creationId="{275811F5-6DBC-4FE3-B485-DED881826A8C}"/>
          </ac:spMkLst>
        </pc:spChg>
        <pc:spChg chg="mod">
          <ac:chgData name="Tan" userId="20e48cba-d982-468b-be47-641cf873d401" providerId="ADAL" clId="{F5E58D74-7948-4ADB-9542-6C85FE27686A}" dt="2021-10-19T15:08:16.141" v="1096" actId="207"/>
          <ac:spMkLst>
            <pc:docMk/>
            <pc:sldMk cId="265307825" sldId="322"/>
            <ac:spMk id="21" creationId="{F5570017-BACB-4F40-8534-EED006C993B4}"/>
          </ac:spMkLst>
        </pc:spChg>
        <pc:spChg chg="mod">
          <ac:chgData name="Tan" userId="20e48cba-d982-468b-be47-641cf873d401" providerId="ADAL" clId="{F5E58D74-7948-4ADB-9542-6C85FE27686A}" dt="2021-10-19T15:08:18.885" v="1097" actId="207"/>
          <ac:spMkLst>
            <pc:docMk/>
            <pc:sldMk cId="265307825" sldId="322"/>
            <ac:spMk id="22" creationId="{94640E42-0337-4665-8522-BE940A1E5FBF}"/>
          </ac:spMkLst>
        </pc:spChg>
        <pc:spChg chg="mod">
          <ac:chgData name="Tan" userId="20e48cba-d982-468b-be47-641cf873d401" providerId="ADAL" clId="{F5E58D74-7948-4ADB-9542-6C85FE27686A}" dt="2021-10-19T15:23:30.352" v="1156" actId="20577"/>
          <ac:spMkLst>
            <pc:docMk/>
            <pc:sldMk cId="265307825" sldId="322"/>
            <ac:spMk id="24" creationId="{66172E90-EC84-452C-9932-4D3A8B6D5C1E}"/>
          </ac:spMkLst>
        </pc:spChg>
        <pc:spChg chg="mod">
          <ac:chgData name="Tan" userId="20e48cba-d982-468b-be47-641cf873d401" providerId="ADAL" clId="{F5E58D74-7948-4ADB-9542-6C85FE27686A}" dt="2021-10-19T15:08:12.111" v="1095" actId="207"/>
          <ac:spMkLst>
            <pc:docMk/>
            <pc:sldMk cId="265307825" sldId="322"/>
            <ac:spMk id="25" creationId="{C7C1125B-C499-45DF-82C8-8494D237262E}"/>
          </ac:spMkLst>
        </pc:spChg>
        <pc:spChg chg="mod">
          <ac:chgData name="Tan" userId="20e48cba-d982-468b-be47-641cf873d401" providerId="ADAL" clId="{F5E58D74-7948-4ADB-9542-6C85FE27686A}" dt="2021-10-19T15:08:25.890" v="1099" actId="207"/>
          <ac:spMkLst>
            <pc:docMk/>
            <pc:sldMk cId="265307825" sldId="322"/>
            <ac:spMk id="27" creationId="{3F1E951E-C678-4D0D-958D-901162C44FC0}"/>
          </ac:spMkLst>
        </pc:spChg>
        <pc:spChg chg="mod">
          <ac:chgData name="Tan" userId="20e48cba-d982-468b-be47-641cf873d401" providerId="ADAL" clId="{F5E58D74-7948-4ADB-9542-6C85FE27686A}" dt="2021-10-19T15:08:25.890" v="1099" actId="207"/>
          <ac:spMkLst>
            <pc:docMk/>
            <pc:sldMk cId="265307825" sldId="322"/>
            <ac:spMk id="28" creationId="{DFDB3A2B-5D18-45F4-B7CC-CE79281B8C9C}"/>
          </ac:spMkLst>
        </pc:spChg>
        <pc:spChg chg="mod">
          <ac:chgData name="Tan" userId="20e48cba-d982-468b-be47-641cf873d401" providerId="ADAL" clId="{F5E58D74-7948-4ADB-9542-6C85FE27686A}" dt="2021-10-19T15:47:16.468" v="1264" actId="20577"/>
          <ac:spMkLst>
            <pc:docMk/>
            <pc:sldMk cId="265307825" sldId="322"/>
            <ac:spMk id="30" creationId="{6EB666A8-EA24-4A32-B6B0-00F546FB92A4}"/>
          </ac:spMkLst>
        </pc:spChg>
        <pc:spChg chg="mod">
          <ac:chgData name="Tan" userId="20e48cba-d982-468b-be47-641cf873d401" providerId="ADAL" clId="{F5E58D74-7948-4ADB-9542-6C85FE27686A}" dt="2021-10-19T15:08:29.301" v="1100" actId="207"/>
          <ac:spMkLst>
            <pc:docMk/>
            <pc:sldMk cId="265307825" sldId="322"/>
            <ac:spMk id="31" creationId="{1DC98BF0-6B80-46D8-93F9-9181CFB3CF80}"/>
          </ac:spMkLst>
        </pc:spChg>
        <pc:grpChg chg="mod">
          <ac:chgData name="Tan" userId="20e48cba-d982-468b-be47-641cf873d401" providerId="ADAL" clId="{F5E58D74-7948-4ADB-9542-6C85FE27686A}" dt="2021-10-19T15:08:21.645" v="1098" actId="207"/>
          <ac:grpSpMkLst>
            <pc:docMk/>
            <pc:sldMk cId="265307825" sldId="322"/>
            <ac:grpSpMk id="14" creationId="{7ED23428-E902-4790-8712-0E5D758418D6}"/>
          </ac:grpSpMkLst>
        </pc:grpChg>
        <pc:grpChg chg="mod">
          <ac:chgData name="Tan" userId="20e48cba-d982-468b-be47-641cf873d401" providerId="ADAL" clId="{F5E58D74-7948-4ADB-9542-6C85FE27686A}" dt="2021-10-19T15:08:05.484" v="1094" actId="207"/>
          <ac:grpSpMkLst>
            <pc:docMk/>
            <pc:sldMk cId="265307825" sldId="322"/>
            <ac:grpSpMk id="20" creationId="{42540B91-846C-4F89-BC18-164AE6F41D30}"/>
          </ac:grpSpMkLst>
        </pc:grpChg>
        <pc:grpChg chg="mod">
          <ac:chgData name="Tan" userId="20e48cba-d982-468b-be47-641cf873d401" providerId="ADAL" clId="{F5E58D74-7948-4ADB-9542-6C85FE27686A}" dt="2021-10-19T15:08:12.111" v="1095" actId="207"/>
          <ac:grpSpMkLst>
            <pc:docMk/>
            <pc:sldMk cId="265307825" sldId="322"/>
            <ac:grpSpMk id="23" creationId="{4F2313E1-C8FE-413B-9426-E75FE41D6373}"/>
          </ac:grpSpMkLst>
        </pc:grpChg>
        <pc:grpChg chg="mod">
          <ac:chgData name="Tan" userId="20e48cba-d982-468b-be47-641cf873d401" providerId="ADAL" clId="{F5E58D74-7948-4ADB-9542-6C85FE27686A}" dt="2021-10-19T15:08:25.890" v="1099" actId="207"/>
          <ac:grpSpMkLst>
            <pc:docMk/>
            <pc:sldMk cId="265307825" sldId="322"/>
            <ac:grpSpMk id="26" creationId="{620BE3C6-0A96-4E87-9B5E-79474B5738D1}"/>
          </ac:grpSpMkLst>
        </pc:grpChg>
        <pc:grpChg chg="mod">
          <ac:chgData name="Tan" userId="20e48cba-d982-468b-be47-641cf873d401" providerId="ADAL" clId="{F5E58D74-7948-4ADB-9542-6C85FE27686A}" dt="2021-10-19T15:08:29.301" v="1100" actId="207"/>
          <ac:grpSpMkLst>
            <pc:docMk/>
            <pc:sldMk cId="265307825" sldId="322"/>
            <ac:grpSpMk id="29" creationId="{0B8F9B5B-71AB-4C01-995B-B0A307017A9A}"/>
          </ac:grpSpMkLst>
        </pc:grpChg>
        <pc:picChg chg="mod">
          <ac:chgData name="Tan" userId="20e48cba-d982-468b-be47-641cf873d401" providerId="ADAL" clId="{F5E58D74-7948-4ADB-9542-6C85FE27686A}" dt="2021-10-19T13:24:15.772" v="27" actId="14100"/>
          <ac:picMkLst>
            <pc:docMk/>
            <pc:sldMk cId="265307825" sldId="322"/>
            <ac:picMk id="5" creationId="{00BAAB7D-B0E3-4D84-B667-4A9564F329C6}"/>
          </ac:picMkLst>
        </pc:picChg>
      </pc:sldChg>
      <pc:sldChg chg="del">
        <pc:chgData name="Tan" userId="20e48cba-d982-468b-be47-641cf873d401" providerId="ADAL" clId="{F5E58D74-7948-4ADB-9542-6C85FE27686A}" dt="2021-10-19T13:29:32.212" v="128" actId="47"/>
        <pc:sldMkLst>
          <pc:docMk/>
          <pc:sldMk cId="3235096158" sldId="323"/>
        </pc:sldMkLst>
      </pc:sldChg>
      <pc:sldChg chg="del">
        <pc:chgData name="Tan" userId="20e48cba-d982-468b-be47-641cf873d401" providerId="ADAL" clId="{F5E58D74-7948-4ADB-9542-6C85FE27686A}" dt="2021-10-19T13:29:39.656" v="129" actId="47"/>
        <pc:sldMkLst>
          <pc:docMk/>
          <pc:sldMk cId="2496740287" sldId="324"/>
        </pc:sldMkLst>
      </pc:sldChg>
      <pc:sldChg chg="modSp del mod">
        <pc:chgData name="Tan" userId="20e48cba-d982-468b-be47-641cf873d401" providerId="ADAL" clId="{F5E58D74-7948-4ADB-9542-6C85FE27686A}" dt="2021-10-19T14:19:37.315" v="513" actId="47"/>
        <pc:sldMkLst>
          <pc:docMk/>
          <pc:sldMk cId="2463758819" sldId="326"/>
        </pc:sldMkLst>
        <pc:spChg chg="mod">
          <ac:chgData name="Tan" userId="20e48cba-d982-468b-be47-641cf873d401" providerId="ADAL" clId="{F5E58D74-7948-4ADB-9542-6C85FE27686A}" dt="2021-10-19T13:34:29.441" v="210" actId="1076"/>
          <ac:spMkLst>
            <pc:docMk/>
            <pc:sldMk cId="2463758819" sldId="326"/>
            <ac:spMk id="6" creationId="{299AE365-E16F-4EB9-B960-F5D2D59AABFC}"/>
          </ac:spMkLst>
        </pc:spChg>
        <pc:spChg chg="mod">
          <ac:chgData name="Tan" userId="20e48cba-d982-468b-be47-641cf873d401" providerId="ADAL" clId="{F5E58D74-7948-4ADB-9542-6C85FE27686A}" dt="2021-10-19T13:34:24.805" v="208" actId="1076"/>
          <ac:spMkLst>
            <pc:docMk/>
            <pc:sldMk cId="2463758819" sldId="326"/>
            <ac:spMk id="7" creationId="{45C045E5-A35F-4110-B32B-745E1400B0B3}"/>
          </ac:spMkLst>
        </pc:spChg>
        <pc:spChg chg="mod">
          <ac:chgData name="Tan" userId="20e48cba-d982-468b-be47-641cf873d401" providerId="ADAL" clId="{F5E58D74-7948-4ADB-9542-6C85FE27686A}" dt="2021-10-19T13:34:10.953" v="207" actId="14100"/>
          <ac:spMkLst>
            <pc:docMk/>
            <pc:sldMk cId="2463758819" sldId="326"/>
            <ac:spMk id="11" creationId="{8FFD62F2-B38A-4F52-9919-A497B2CC4C83}"/>
          </ac:spMkLst>
        </pc:spChg>
      </pc:sldChg>
      <pc:sldChg chg="addSp delSp modSp mod">
        <pc:chgData name="Tan" userId="20e48cba-d982-468b-be47-641cf873d401" providerId="ADAL" clId="{F5E58D74-7948-4ADB-9542-6C85FE27686A}" dt="2021-10-19T15:10:17.357" v="1107"/>
        <pc:sldMkLst>
          <pc:docMk/>
          <pc:sldMk cId="2162620498" sldId="327"/>
        </pc:sldMkLst>
        <pc:spChg chg="del mod">
          <ac:chgData name="Tan" userId="20e48cba-d982-468b-be47-641cf873d401" providerId="ADAL" clId="{F5E58D74-7948-4ADB-9542-6C85FE27686A}" dt="2021-10-19T14:47:09.472" v="812" actId="478"/>
          <ac:spMkLst>
            <pc:docMk/>
            <pc:sldMk cId="2162620498" sldId="327"/>
            <ac:spMk id="2" creationId="{26C38E3E-8109-4228-BEB5-5C64F73A0D69}"/>
          </ac:spMkLst>
        </pc:spChg>
        <pc:spChg chg="mod">
          <ac:chgData name="Tan" userId="20e48cba-d982-468b-be47-641cf873d401" providerId="ADAL" clId="{F5E58D74-7948-4ADB-9542-6C85FE27686A}" dt="2021-10-19T14:51:37.576" v="881" actId="14100"/>
          <ac:spMkLst>
            <pc:docMk/>
            <pc:sldMk cId="2162620498" sldId="327"/>
            <ac:spMk id="3" creationId="{F89D7F64-198B-4936-B681-D6066F272A9A}"/>
          </ac:spMkLst>
        </pc:spChg>
        <pc:spChg chg="mod">
          <ac:chgData name="Tan" userId="20e48cba-d982-468b-be47-641cf873d401" providerId="ADAL" clId="{F5E58D74-7948-4ADB-9542-6C85FE27686A}" dt="2021-10-19T14:49:39.478" v="842" actId="20577"/>
          <ac:spMkLst>
            <pc:docMk/>
            <pc:sldMk cId="2162620498" sldId="327"/>
            <ac:spMk id="4" creationId="{B24CEA83-3EDA-4925-92BF-C5C8D0A4BEA0}"/>
          </ac:spMkLst>
        </pc:spChg>
        <pc:spChg chg="mod">
          <ac:chgData name="Tan" userId="20e48cba-d982-468b-be47-641cf873d401" providerId="ADAL" clId="{F5E58D74-7948-4ADB-9542-6C85FE27686A}" dt="2021-10-19T14:50:13.506" v="854" actId="1076"/>
          <ac:spMkLst>
            <pc:docMk/>
            <pc:sldMk cId="2162620498" sldId="327"/>
            <ac:spMk id="8" creationId="{B893367A-DE2A-4596-8943-1B4D9F17ADE5}"/>
          </ac:spMkLst>
        </pc:spChg>
        <pc:spChg chg="mod">
          <ac:chgData name="Tan" userId="20e48cba-d982-468b-be47-641cf873d401" providerId="ADAL" clId="{F5E58D74-7948-4ADB-9542-6C85FE27686A}" dt="2021-10-19T14:49:58.679" v="849" actId="1076"/>
          <ac:spMkLst>
            <pc:docMk/>
            <pc:sldMk cId="2162620498" sldId="327"/>
            <ac:spMk id="9" creationId="{61785E7A-F957-47BA-9863-7E4FA5F1870F}"/>
          </ac:spMkLst>
        </pc:spChg>
        <pc:spChg chg="add mod">
          <ac:chgData name="Tan" userId="20e48cba-d982-468b-be47-641cf873d401" providerId="ADAL" clId="{F5E58D74-7948-4ADB-9542-6C85FE27686A}" dt="2021-10-19T14:47:24.500" v="816" actId="1076"/>
          <ac:spMkLst>
            <pc:docMk/>
            <pc:sldMk cId="2162620498" sldId="327"/>
            <ac:spMk id="11" creationId="{5C66E887-3C9A-49ED-A9B7-634F96891EDC}"/>
          </ac:spMkLst>
        </pc:spChg>
        <pc:spChg chg="del">
          <ac:chgData name="Tan" userId="20e48cba-d982-468b-be47-641cf873d401" providerId="ADAL" clId="{F5E58D74-7948-4ADB-9542-6C85FE27686A}" dt="2021-10-19T15:10:17.357" v="1107"/>
          <ac:spMkLst>
            <pc:docMk/>
            <pc:sldMk cId="2162620498" sldId="327"/>
            <ac:spMk id="18" creationId="{FD817AB3-9CC7-4275-92F0-26C5897B5EE1}"/>
          </ac:spMkLst>
        </pc:spChg>
        <pc:picChg chg="mod">
          <ac:chgData name="Tan" userId="20e48cba-d982-468b-be47-641cf873d401" providerId="ADAL" clId="{F5E58D74-7948-4ADB-9542-6C85FE27686A}" dt="2021-10-19T14:50:32.059" v="862" actId="14100"/>
          <ac:picMkLst>
            <pc:docMk/>
            <pc:sldMk cId="2162620498" sldId="327"/>
            <ac:picMk id="5" creationId="{B3EB4551-D899-4B29-B886-FFE788ADE385}"/>
          </ac:picMkLst>
        </pc:picChg>
        <pc:picChg chg="mod">
          <ac:chgData name="Tan" userId="20e48cba-d982-468b-be47-641cf873d401" providerId="ADAL" clId="{F5E58D74-7948-4ADB-9542-6C85FE27686A}" dt="2021-10-19T14:50:47.047" v="869" actId="14100"/>
          <ac:picMkLst>
            <pc:docMk/>
            <pc:sldMk cId="2162620498" sldId="327"/>
            <ac:picMk id="6" creationId="{E48E24C9-BCDB-4EDB-A18D-24BA04D6D808}"/>
          </ac:picMkLst>
        </pc:picChg>
        <pc:picChg chg="mod">
          <ac:chgData name="Tan" userId="20e48cba-d982-468b-be47-641cf873d401" providerId="ADAL" clId="{F5E58D74-7948-4ADB-9542-6C85FE27686A}" dt="2021-10-19T14:50:30.024" v="861" actId="14100"/>
          <ac:picMkLst>
            <pc:docMk/>
            <pc:sldMk cId="2162620498" sldId="327"/>
            <ac:picMk id="7" creationId="{5B97C1C5-64EB-434D-A496-E8C7E81ADE8A}"/>
          </ac:picMkLst>
        </pc:picChg>
        <pc:picChg chg="mod">
          <ac:chgData name="Tan" userId="20e48cba-d982-468b-be47-641cf873d401" providerId="ADAL" clId="{F5E58D74-7948-4ADB-9542-6C85FE27686A}" dt="2021-10-19T14:50:44.068" v="867" actId="1076"/>
          <ac:picMkLst>
            <pc:docMk/>
            <pc:sldMk cId="2162620498" sldId="327"/>
            <ac:picMk id="16" creationId="{8C1B3448-AC5F-43E2-B6B5-D3C1A9349F52}"/>
          </ac:picMkLst>
        </pc:picChg>
        <pc:cxnChg chg="add mod">
          <ac:chgData name="Tan" userId="20e48cba-d982-468b-be47-641cf873d401" providerId="ADAL" clId="{F5E58D74-7948-4ADB-9542-6C85FE27686A}" dt="2021-10-19T14:50:10.711" v="853" actId="1076"/>
          <ac:cxnSpMkLst>
            <pc:docMk/>
            <pc:sldMk cId="2162620498" sldId="327"/>
            <ac:cxnSpMk id="12" creationId="{1539DCE8-E772-4EF6-ADFB-E5E06A6AC758}"/>
          </ac:cxnSpMkLst>
        </pc:cxnChg>
        <pc:cxnChg chg="add mod">
          <ac:chgData name="Tan" userId="20e48cba-d982-468b-be47-641cf873d401" providerId="ADAL" clId="{F5E58D74-7948-4ADB-9542-6C85FE27686A}" dt="2021-10-19T14:49:22.879" v="838" actId="108"/>
          <ac:cxnSpMkLst>
            <pc:docMk/>
            <pc:sldMk cId="2162620498" sldId="327"/>
            <ac:cxnSpMk id="13" creationId="{05116BFC-10BC-4091-912B-A2CCF30143FA}"/>
          </ac:cxnSpMkLst>
        </pc:cxnChg>
        <pc:cxnChg chg="add mod">
          <ac:chgData name="Tan" userId="20e48cba-d982-468b-be47-641cf873d401" providerId="ADAL" clId="{F5E58D74-7948-4ADB-9542-6C85FE27686A}" dt="2021-10-19T14:49:32.715" v="841" actId="1076"/>
          <ac:cxnSpMkLst>
            <pc:docMk/>
            <pc:sldMk cId="2162620498" sldId="327"/>
            <ac:cxnSpMk id="17" creationId="{3EBE377F-9074-4987-BBDC-9E2EF78D50CA}"/>
          </ac:cxnSpMkLst>
        </pc:cxnChg>
      </pc:sldChg>
      <pc:sldChg chg="addSp delSp modSp mod">
        <pc:chgData name="Tan" userId="20e48cba-d982-468b-be47-641cf873d401" providerId="ADAL" clId="{F5E58D74-7948-4ADB-9542-6C85FE27686A}" dt="2021-10-19T15:25:41.941" v="1206" actId="1076"/>
        <pc:sldMkLst>
          <pc:docMk/>
          <pc:sldMk cId="1300532342" sldId="331"/>
        </pc:sldMkLst>
        <pc:spChg chg="del mod">
          <ac:chgData name="Tan" userId="20e48cba-d982-468b-be47-641cf873d401" providerId="ADAL" clId="{F5E58D74-7948-4ADB-9542-6C85FE27686A}" dt="2021-10-19T14:51:16.327" v="877" actId="478"/>
          <ac:spMkLst>
            <pc:docMk/>
            <pc:sldMk cId="1300532342" sldId="331"/>
            <ac:spMk id="2" creationId="{B5867E0B-D522-4668-85FD-8C17EAD774BC}"/>
          </ac:spMkLst>
        </pc:spChg>
        <pc:spChg chg="del mod">
          <ac:chgData name="Tan" userId="20e48cba-d982-468b-be47-641cf873d401" providerId="ADAL" clId="{F5E58D74-7948-4ADB-9542-6C85FE27686A}" dt="2021-10-19T14:53:28.994" v="913"/>
          <ac:spMkLst>
            <pc:docMk/>
            <pc:sldMk cId="1300532342" sldId="331"/>
            <ac:spMk id="3" creationId="{E6F8F4B6-A847-4EEE-B87F-AAD1192EFCE7}"/>
          </ac:spMkLst>
        </pc:spChg>
        <pc:spChg chg="add mod">
          <ac:chgData name="Tan" userId="20e48cba-d982-468b-be47-641cf873d401" providerId="ADAL" clId="{F5E58D74-7948-4ADB-9542-6C85FE27686A}" dt="2021-10-19T14:53:51.299" v="920" actId="1076"/>
          <ac:spMkLst>
            <pc:docMk/>
            <pc:sldMk cId="1300532342" sldId="331"/>
            <ac:spMk id="4" creationId="{A9DB2B7F-1565-4E93-87C3-A836B9D724FD}"/>
          </ac:spMkLst>
        </pc:spChg>
        <pc:spChg chg="add mod">
          <ac:chgData name="Tan" userId="20e48cba-d982-468b-be47-641cf873d401" providerId="ADAL" clId="{F5E58D74-7948-4ADB-9542-6C85FE27686A}" dt="2021-10-19T14:51:19.332" v="878" actId="1076"/>
          <ac:spMkLst>
            <pc:docMk/>
            <pc:sldMk cId="1300532342" sldId="331"/>
            <ac:spMk id="10" creationId="{C202204B-BB53-4C9F-A311-2D2172695DF4}"/>
          </ac:spMkLst>
        </pc:spChg>
        <pc:spChg chg="del">
          <ac:chgData name="Tan" userId="20e48cba-d982-468b-be47-641cf873d401" providerId="ADAL" clId="{F5E58D74-7948-4ADB-9542-6C85FE27686A}" dt="2021-10-19T15:10:17.357" v="1107"/>
          <ac:spMkLst>
            <pc:docMk/>
            <pc:sldMk cId="1300532342" sldId="331"/>
            <ac:spMk id="13" creationId="{D82A9329-89FB-40BE-9AE3-C85374A885A9}"/>
          </ac:spMkLst>
        </pc:spChg>
        <pc:spChg chg="mod">
          <ac:chgData name="Tan" userId="20e48cba-d982-468b-be47-641cf873d401" providerId="ADAL" clId="{F5E58D74-7948-4ADB-9542-6C85FE27686A}" dt="2021-10-19T14:53:48.342" v="919" actId="1076"/>
          <ac:spMkLst>
            <pc:docMk/>
            <pc:sldMk cId="1300532342" sldId="331"/>
            <ac:spMk id="14" creationId="{8C4F134B-85CD-427D-AD2D-E75C532E35C7}"/>
          </ac:spMkLst>
        </pc:spChg>
        <pc:spChg chg="mod">
          <ac:chgData name="Tan" userId="20e48cba-d982-468b-be47-641cf873d401" providerId="ADAL" clId="{F5E58D74-7948-4ADB-9542-6C85FE27686A}" dt="2021-10-19T14:54:41.593" v="928" actId="1076"/>
          <ac:spMkLst>
            <pc:docMk/>
            <pc:sldMk cId="1300532342" sldId="331"/>
            <ac:spMk id="17" creationId="{76FF0807-2A15-46B2-8431-AF3AB38C4DFB}"/>
          </ac:spMkLst>
        </pc:spChg>
        <pc:picChg chg="mod">
          <ac:chgData name="Tan" userId="20e48cba-d982-468b-be47-641cf873d401" providerId="ADAL" clId="{F5E58D74-7948-4ADB-9542-6C85FE27686A}" dt="2021-10-19T15:25:39.570" v="1205" actId="1076"/>
          <ac:picMkLst>
            <pc:docMk/>
            <pc:sldMk cId="1300532342" sldId="331"/>
            <ac:picMk id="5" creationId="{3E8B3783-FBFD-40CE-9FB8-781CACAD6FC1}"/>
          </ac:picMkLst>
        </pc:picChg>
        <pc:picChg chg="mod">
          <ac:chgData name="Tan" userId="20e48cba-d982-468b-be47-641cf873d401" providerId="ADAL" clId="{F5E58D74-7948-4ADB-9542-6C85FE27686A}" dt="2021-10-19T15:25:17.140" v="1198" actId="1076"/>
          <ac:picMkLst>
            <pc:docMk/>
            <pc:sldMk cId="1300532342" sldId="331"/>
            <ac:picMk id="6" creationId="{A0887C19-93C4-4981-9C4C-EFBC30CAFE8E}"/>
          </ac:picMkLst>
        </pc:picChg>
        <pc:picChg chg="mod">
          <ac:chgData name="Tan" userId="20e48cba-d982-468b-be47-641cf873d401" providerId="ADAL" clId="{F5E58D74-7948-4ADB-9542-6C85FE27686A}" dt="2021-10-19T15:25:41.941" v="1206" actId="1076"/>
          <ac:picMkLst>
            <pc:docMk/>
            <pc:sldMk cId="1300532342" sldId="331"/>
            <ac:picMk id="7" creationId="{682552CF-7E96-420E-8C71-62C3878B4904}"/>
          </ac:picMkLst>
        </pc:picChg>
        <pc:picChg chg="mod">
          <ac:chgData name="Tan" userId="20e48cba-d982-468b-be47-641cf873d401" providerId="ADAL" clId="{F5E58D74-7948-4ADB-9542-6C85FE27686A}" dt="2021-10-19T14:53:35.671" v="918" actId="1076"/>
          <ac:picMkLst>
            <pc:docMk/>
            <pc:sldMk cId="1300532342" sldId="331"/>
            <ac:picMk id="8" creationId="{0BD3B605-F525-4060-BBD5-72F5DCE71140}"/>
          </ac:picMkLst>
        </pc:picChg>
        <pc:cxnChg chg="add mod">
          <ac:chgData name="Tan" userId="20e48cba-d982-468b-be47-641cf873d401" providerId="ADAL" clId="{F5E58D74-7948-4ADB-9542-6C85FE27686A}" dt="2021-10-19T14:54:30.167" v="926" actId="1076"/>
          <ac:cxnSpMkLst>
            <pc:docMk/>
            <pc:sldMk cId="1300532342" sldId="331"/>
            <ac:cxnSpMk id="11" creationId="{3E980580-00C6-4008-9E88-B761D03B02EE}"/>
          </ac:cxnSpMkLst>
        </pc:cxnChg>
      </pc:sldChg>
      <pc:sldChg chg="modSp del mod">
        <pc:chgData name="Tan" userId="20e48cba-d982-468b-be47-641cf873d401" providerId="ADAL" clId="{F5E58D74-7948-4ADB-9542-6C85FE27686A}" dt="2021-10-19T14:40:31.433" v="719" actId="47"/>
        <pc:sldMkLst>
          <pc:docMk/>
          <pc:sldMk cId="907296020" sldId="332"/>
        </pc:sldMkLst>
        <pc:spChg chg="mod">
          <ac:chgData name="Tan" userId="20e48cba-d982-468b-be47-641cf873d401" providerId="ADAL" clId="{F5E58D74-7948-4ADB-9542-6C85FE27686A}" dt="2021-10-19T14:34:10.653" v="608" actId="20577"/>
          <ac:spMkLst>
            <pc:docMk/>
            <pc:sldMk cId="907296020" sldId="332"/>
            <ac:spMk id="4" creationId="{20CF8702-D41A-4F25-8BBE-3D2C1BF1674E}"/>
          </ac:spMkLst>
        </pc:spChg>
      </pc:sldChg>
      <pc:sldChg chg="delSp modSp del mod">
        <pc:chgData name="Tan" userId="20e48cba-d982-468b-be47-641cf873d401" providerId="ADAL" clId="{F5E58D74-7948-4ADB-9542-6C85FE27686A}" dt="2021-10-19T14:46:21.821" v="801" actId="47"/>
        <pc:sldMkLst>
          <pc:docMk/>
          <pc:sldMk cId="2402101022" sldId="333"/>
        </pc:sldMkLst>
        <pc:spChg chg="del mod">
          <ac:chgData name="Tan" userId="20e48cba-d982-468b-be47-641cf873d401" providerId="ADAL" clId="{F5E58D74-7948-4ADB-9542-6C85FE27686A}" dt="2021-10-19T14:45:52.342" v="793"/>
          <ac:spMkLst>
            <pc:docMk/>
            <pc:sldMk cId="2402101022" sldId="333"/>
            <ac:spMk id="3" creationId="{E2E31CAE-C98F-49CB-8B4A-02D7E39ABA8E}"/>
          </ac:spMkLst>
        </pc:spChg>
      </pc:sldChg>
      <pc:sldChg chg="addSp delSp modSp del mod">
        <pc:chgData name="Tan" userId="20e48cba-d982-468b-be47-641cf873d401" providerId="ADAL" clId="{F5E58D74-7948-4ADB-9542-6C85FE27686A}" dt="2021-10-19T15:22:48.271" v="1150" actId="47"/>
        <pc:sldMkLst>
          <pc:docMk/>
          <pc:sldMk cId="2715225839" sldId="334"/>
        </pc:sldMkLst>
        <pc:spChg chg="del">
          <ac:chgData name="Tan" userId="20e48cba-d982-468b-be47-641cf873d401" providerId="ADAL" clId="{F5E58D74-7948-4ADB-9542-6C85FE27686A}" dt="2021-10-19T15:10:17.357" v="1107"/>
          <ac:spMkLst>
            <pc:docMk/>
            <pc:sldMk cId="2715225839" sldId="334"/>
            <ac:spMk id="2" creationId="{1AE2C815-B072-4674-AE63-465EE7E774E6}"/>
          </ac:spMkLst>
        </pc:spChg>
        <pc:spChg chg="del mod">
          <ac:chgData name="Tan" userId="20e48cba-d982-468b-be47-641cf873d401" providerId="ADAL" clId="{F5E58D74-7948-4ADB-9542-6C85FE27686A}" dt="2021-10-19T14:55:28.218" v="938"/>
          <ac:spMkLst>
            <pc:docMk/>
            <pc:sldMk cId="2715225839" sldId="334"/>
            <ac:spMk id="5" creationId="{01A35D22-FD8B-4B43-8785-196E80636E06}"/>
          </ac:spMkLst>
        </pc:spChg>
        <pc:spChg chg="add mod">
          <ac:chgData name="Tan" userId="20e48cba-d982-468b-be47-641cf873d401" providerId="ADAL" clId="{F5E58D74-7948-4ADB-9542-6C85FE27686A}" dt="2021-10-19T14:55:27.073" v="936" actId="1076"/>
          <ac:spMkLst>
            <pc:docMk/>
            <pc:sldMk cId="2715225839" sldId="334"/>
            <ac:spMk id="6" creationId="{32D4A5FD-EF0C-464D-97E5-D136B9904457}"/>
          </ac:spMkLst>
        </pc:spChg>
        <pc:graphicFrameChg chg="mod modGraphic">
          <ac:chgData name="Tan" userId="20e48cba-d982-468b-be47-641cf873d401" providerId="ADAL" clId="{F5E58D74-7948-4ADB-9542-6C85FE27686A}" dt="2021-10-19T14:59:04.899" v="956" actId="1076"/>
          <ac:graphicFrameMkLst>
            <pc:docMk/>
            <pc:sldMk cId="2715225839" sldId="334"/>
            <ac:graphicFrameMk id="4" creationId="{519A680B-E307-47AD-9BC1-39033AA5C45A}"/>
          </ac:graphicFrameMkLst>
        </pc:graphicFrameChg>
      </pc:sldChg>
      <pc:sldChg chg="addSp delSp modSp new del mod setBg">
        <pc:chgData name="Tan" userId="20e48cba-d982-468b-be47-641cf873d401" providerId="ADAL" clId="{F5E58D74-7948-4ADB-9542-6C85FE27686A}" dt="2021-10-19T15:21:40.450" v="1146" actId="47"/>
        <pc:sldMkLst>
          <pc:docMk/>
          <pc:sldMk cId="4257924119" sldId="335"/>
        </pc:sldMkLst>
        <pc:spChg chg="add del mod topLvl">
          <ac:chgData name="Tan" userId="20e48cba-d982-468b-be47-641cf873d401" providerId="ADAL" clId="{F5E58D74-7948-4ADB-9542-6C85FE27686A}" dt="2021-10-19T13:57:50.642" v="357" actId="478"/>
          <ac:spMkLst>
            <pc:docMk/>
            <pc:sldMk cId="4257924119" sldId="335"/>
            <ac:spMk id="6" creationId="{7E1EAF69-2FE5-447B-9C7C-86D7D1E2EE0C}"/>
          </ac:spMkLst>
        </pc:spChg>
        <pc:spChg chg="add mod topLvl">
          <ac:chgData name="Tan" userId="20e48cba-d982-468b-be47-641cf873d401" providerId="ADAL" clId="{F5E58D74-7948-4ADB-9542-6C85FE27686A}" dt="2021-10-19T14:07:08.065" v="443" actId="207"/>
          <ac:spMkLst>
            <pc:docMk/>
            <pc:sldMk cId="4257924119" sldId="335"/>
            <ac:spMk id="7" creationId="{6000767E-401F-4523-8FB5-9831749785B4}"/>
          </ac:spMkLst>
        </pc:spChg>
        <pc:spChg chg="mod">
          <ac:chgData name="Tan" userId="20e48cba-d982-468b-be47-641cf873d401" providerId="ADAL" clId="{F5E58D74-7948-4ADB-9542-6C85FE27686A}" dt="2021-10-19T13:54:32.350" v="313"/>
          <ac:spMkLst>
            <pc:docMk/>
            <pc:sldMk cId="4257924119" sldId="335"/>
            <ac:spMk id="10" creationId="{895FDF61-1402-4191-96BF-8EC5B7F380AC}"/>
          </ac:spMkLst>
        </pc:spChg>
        <pc:spChg chg="mod">
          <ac:chgData name="Tan" userId="20e48cba-d982-468b-be47-641cf873d401" providerId="ADAL" clId="{F5E58D74-7948-4ADB-9542-6C85FE27686A}" dt="2021-10-19T13:55:41.503" v="336" actId="20577"/>
          <ac:spMkLst>
            <pc:docMk/>
            <pc:sldMk cId="4257924119" sldId="335"/>
            <ac:spMk id="11" creationId="{93784F6E-7668-4EF8-B0D3-6FD5E8FE1CBA}"/>
          </ac:spMkLst>
        </pc:spChg>
        <pc:spChg chg="mod">
          <ac:chgData name="Tan" userId="20e48cba-d982-468b-be47-641cf873d401" providerId="ADAL" clId="{F5E58D74-7948-4ADB-9542-6C85FE27686A}" dt="2021-10-19T13:54:37.728" v="315"/>
          <ac:spMkLst>
            <pc:docMk/>
            <pc:sldMk cId="4257924119" sldId="335"/>
            <ac:spMk id="13" creationId="{254E18FB-8F69-4DC1-AC06-084A39B4D79C}"/>
          </ac:spMkLst>
        </pc:spChg>
        <pc:spChg chg="mod">
          <ac:chgData name="Tan" userId="20e48cba-d982-468b-be47-641cf873d401" providerId="ADAL" clId="{F5E58D74-7948-4ADB-9542-6C85FE27686A}" dt="2021-10-19T13:55:50.106" v="350" actId="20577"/>
          <ac:spMkLst>
            <pc:docMk/>
            <pc:sldMk cId="4257924119" sldId="335"/>
            <ac:spMk id="14" creationId="{BE60A537-C04C-4DC1-B7AC-5FC0A2B89928}"/>
          </ac:spMkLst>
        </pc:spChg>
        <pc:spChg chg="add mod">
          <ac:chgData name="Tan" userId="20e48cba-d982-468b-be47-641cf873d401" providerId="ADAL" clId="{F5E58D74-7948-4ADB-9542-6C85FE27686A}" dt="2021-10-19T14:05:20.773" v="433" actId="404"/>
          <ac:spMkLst>
            <pc:docMk/>
            <pc:sldMk cId="4257924119" sldId="335"/>
            <ac:spMk id="16" creationId="{025BF8E0-0BC0-4524-A8D5-8EF74DC1EA48}"/>
          </ac:spMkLst>
        </pc:spChg>
        <pc:spChg chg="add del mod">
          <ac:chgData name="Tan" userId="20e48cba-d982-468b-be47-641cf873d401" providerId="ADAL" clId="{F5E58D74-7948-4ADB-9542-6C85FE27686A}" dt="2021-10-19T14:01:21.481" v="390"/>
          <ac:spMkLst>
            <pc:docMk/>
            <pc:sldMk cId="4257924119" sldId="335"/>
            <ac:spMk id="18" creationId="{ED99E5B3-D189-4BE6-B99F-86EF91A9A368}"/>
          </ac:spMkLst>
        </pc:spChg>
        <pc:spChg chg="add del mod">
          <ac:chgData name="Tan" userId="20e48cba-d982-468b-be47-641cf873d401" providerId="ADAL" clId="{F5E58D74-7948-4ADB-9542-6C85FE27686A}" dt="2021-10-19T14:04:00.121" v="410" actId="478"/>
          <ac:spMkLst>
            <pc:docMk/>
            <pc:sldMk cId="4257924119" sldId="335"/>
            <ac:spMk id="20" creationId="{62DFAEC6-2BBF-4E97-9270-35418F1D10AD}"/>
          </ac:spMkLst>
        </pc:spChg>
        <pc:spChg chg="add mod">
          <ac:chgData name="Tan" userId="20e48cba-d982-468b-be47-641cf873d401" providerId="ADAL" clId="{F5E58D74-7948-4ADB-9542-6C85FE27686A}" dt="2021-10-19T14:00:23.108" v="376" actId="164"/>
          <ac:spMkLst>
            <pc:docMk/>
            <pc:sldMk cId="4257924119" sldId="335"/>
            <ac:spMk id="21" creationId="{EF862DD2-291B-4CEF-8192-1016B7239099}"/>
          </ac:spMkLst>
        </pc:spChg>
        <pc:spChg chg="mod">
          <ac:chgData name="Tan" userId="20e48cba-d982-468b-be47-641cf873d401" providerId="ADAL" clId="{F5E58D74-7948-4ADB-9542-6C85FE27686A}" dt="2021-10-19T14:00:56.231" v="382"/>
          <ac:spMkLst>
            <pc:docMk/>
            <pc:sldMk cId="4257924119" sldId="335"/>
            <ac:spMk id="24" creationId="{C1710CD8-2BBB-4BE8-8623-A46C8E977B71}"/>
          </ac:spMkLst>
        </pc:spChg>
        <pc:spChg chg="mod">
          <ac:chgData name="Tan" userId="20e48cba-d982-468b-be47-641cf873d401" providerId="ADAL" clId="{F5E58D74-7948-4ADB-9542-6C85FE27686A}" dt="2021-10-19T14:00:56.231" v="382"/>
          <ac:spMkLst>
            <pc:docMk/>
            <pc:sldMk cId="4257924119" sldId="335"/>
            <ac:spMk id="25" creationId="{7775D319-AE9F-45C5-A32F-F87C20189DCD}"/>
          </ac:spMkLst>
        </pc:spChg>
        <pc:spChg chg="mod">
          <ac:chgData name="Tan" userId="20e48cba-d982-468b-be47-641cf873d401" providerId="ADAL" clId="{F5E58D74-7948-4ADB-9542-6C85FE27686A}" dt="2021-10-19T14:00:56.231" v="382"/>
          <ac:spMkLst>
            <pc:docMk/>
            <pc:sldMk cId="4257924119" sldId="335"/>
            <ac:spMk id="26" creationId="{740E1F21-083D-4D8E-900F-A2D37057D8FB}"/>
          </ac:spMkLst>
        </pc:spChg>
        <pc:spChg chg="add del mod">
          <ac:chgData name="Tan" userId="20e48cba-d982-468b-be47-641cf873d401" providerId="ADAL" clId="{F5E58D74-7948-4ADB-9542-6C85FE27686A}" dt="2021-10-19T14:01:21.480" v="388" actId="478"/>
          <ac:spMkLst>
            <pc:docMk/>
            <pc:sldMk cId="4257924119" sldId="335"/>
            <ac:spMk id="28" creationId="{F8B0B227-2C90-41E9-8EA1-BE93FF4D984F}"/>
          </ac:spMkLst>
        </pc:spChg>
        <pc:spChg chg="mod">
          <ac:chgData name="Tan" userId="20e48cba-d982-468b-be47-641cf873d401" providerId="ADAL" clId="{F5E58D74-7948-4ADB-9542-6C85FE27686A}" dt="2021-10-19T14:07:51.598" v="446" actId="207"/>
          <ac:spMkLst>
            <pc:docMk/>
            <pc:sldMk cId="4257924119" sldId="335"/>
            <ac:spMk id="30" creationId="{C3740AB4-AD77-47DA-9B2D-7F4F6A6F379A}"/>
          </ac:spMkLst>
        </pc:spChg>
        <pc:spChg chg="mod">
          <ac:chgData name="Tan" userId="20e48cba-d982-468b-be47-641cf873d401" providerId="ADAL" clId="{F5E58D74-7948-4ADB-9542-6C85FE27686A}" dt="2021-10-19T14:05:24.130" v="434" actId="108"/>
          <ac:spMkLst>
            <pc:docMk/>
            <pc:sldMk cId="4257924119" sldId="335"/>
            <ac:spMk id="31" creationId="{422F1B3E-B4CD-42EB-8ACF-7DA082373371}"/>
          </ac:spMkLst>
        </pc:spChg>
        <pc:spChg chg="mod">
          <ac:chgData name="Tan" userId="20e48cba-d982-468b-be47-641cf873d401" providerId="ADAL" clId="{F5E58D74-7948-4ADB-9542-6C85FE27686A}" dt="2021-10-19T14:03:18.475" v="394" actId="207"/>
          <ac:spMkLst>
            <pc:docMk/>
            <pc:sldMk cId="4257924119" sldId="335"/>
            <ac:spMk id="32" creationId="{427156B1-5F9F-4100-8102-B5046200034C}"/>
          </ac:spMkLst>
        </pc:spChg>
        <pc:spChg chg="mod">
          <ac:chgData name="Tan" userId="20e48cba-d982-468b-be47-641cf873d401" providerId="ADAL" clId="{F5E58D74-7948-4ADB-9542-6C85FE27686A}" dt="2021-10-19T14:07:55.216" v="447" actId="207"/>
          <ac:spMkLst>
            <pc:docMk/>
            <pc:sldMk cId="4257924119" sldId="335"/>
            <ac:spMk id="34" creationId="{25745ADB-4075-4992-A4BC-B1C163681776}"/>
          </ac:spMkLst>
        </pc:spChg>
        <pc:spChg chg="mod">
          <ac:chgData name="Tan" userId="20e48cba-d982-468b-be47-641cf873d401" providerId="ADAL" clId="{F5E58D74-7948-4ADB-9542-6C85FE27686A}" dt="2021-10-19T14:06:44.099" v="442" actId="20577"/>
          <ac:spMkLst>
            <pc:docMk/>
            <pc:sldMk cId="4257924119" sldId="335"/>
            <ac:spMk id="35" creationId="{426E2050-1D0A-4CBB-85D8-4451A6F3666E}"/>
          </ac:spMkLst>
        </pc:spChg>
        <pc:spChg chg="mod">
          <ac:chgData name="Tan" userId="20e48cba-d982-468b-be47-641cf873d401" providerId="ADAL" clId="{F5E58D74-7948-4ADB-9542-6C85FE27686A}" dt="2021-10-19T14:03:54.148" v="408"/>
          <ac:spMkLst>
            <pc:docMk/>
            <pc:sldMk cId="4257924119" sldId="335"/>
            <ac:spMk id="36" creationId="{1B43EB63-9FB7-4851-A1A6-79391D3C765A}"/>
          </ac:spMkLst>
        </pc:spChg>
        <pc:spChg chg="add mod">
          <ac:chgData name="Tan" userId="20e48cba-d982-468b-be47-641cf873d401" providerId="ADAL" clId="{F5E58D74-7948-4ADB-9542-6C85FE27686A}" dt="2021-10-19T14:11:57.064" v="461" actId="21"/>
          <ac:spMkLst>
            <pc:docMk/>
            <pc:sldMk cId="4257924119" sldId="335"/>
            <ac:spMk id="37" creationId="{B83485C2-C633-4C85-AD06-B092F02D381B}"/>
          </ac:spMkLst>
        </pc:spChg>
        <pc:spChg chg="add mod">
          <ac:chgData name="Tan" userId="20e48cba-d982-468b-be47-641cf873d401" providerId="ADAL" clId="{F5E58D74-7948-4ADB-9542-6C85FE27686A}" dt="2021-10-19T14:12:31.487" v="470" actId="404"/>
          <ac:spMkLst>
            <pc:docMk/>
            <pc:sldMk cId="4257924119" sldId="335"/>
            <ac:spMk id="38" creationId="{8579E909-0441-473A-8CC7-5918A5ACD0B2}"/>
          </ac:spMkLst>
        </pc:spChg>
        <pc:grpChg chg="add del mod">
          <ac:chgData name="Tan" userId="20e48cba-d982-468b-be47-641cf873d401" providerId="ADAL" clId="{F5E58D74-7948-4ADB-9542-6C85FE27686A}" dt="2021-10-19T13:57:50.642" v="357" actId="478"/>
          <ac:grpSpMkLst>
            <pc:docMk/>
            <pc:sldMk cId="4257924119" sldId="335"/>
            <ac:grpSpMk id="8" creationId="{427005CD-0112-416E-89E4-FE09DB3A290D}"/>
          </ac:grpSpMkLst>
        </pc:grpChg>
        <pc:grpChg chg="add del mod">
          <ac:chgData name="Tan" userId="20e48cba-d982-468b-be47-641cf873d401" providerId="ADAL" clId="{F5E58D74-7948-4ADB-9542-6C85FE27686A}" dt="2021-10-19T13:57:31.429" v="355" actId="478"/>
          <ac:grpSpMkLst>
            <pc:docMk/>
            <pc:sldMk cId="4257924119" sldId="335"/>
            <ac:grpSpMk id="9" creationId="{33C9D2D3-2019-4F5B-8333-8CBA0D6CF56C}"/>
          </ac:grpSpMkLst>
        </pc:grpChg>
        <pc:grpChg chg="add del mod">
          <ac:chgData name="Tan" userId="20e48cba-d982-468b-be47-641cf873d401" providerId="ADAL" clId="{F5E58D74-7948-4ADB-9542-6C85FE27686A}" dt="2021-10-19T14:03:58.646" v="409" actId="478"/>
          <ac:grpSpMkLst>
            <pc:docMk/>
            <pc:sldMk cId="4257924119" sldId="335"/>
            <ac:grpSpMk id="12" creationId="{6C3285A7-5391-443C-A292-B98AEB35EE20}"/>
          </ac:grpSpMkLst>
        </pc:grpChg>
        <pc:grpChg chg="add mod">
          <ac:chgData name="Tan" userId="20e48cba-d982-468b-be47-641cf873d401" providerId="ADAL" clId="{F5E58D74-7948-4ADB-9542-6C85FE27686A}" dt="2021-10-19T14:04:21.899" v="427" actId="1076"/>
          <ac:grpSpMkLst>
            <pc:docMk/>
            <pc:sldMk cId="4257924119" sldId="335"/>
            <ac:grpSpMk id="22" creationId="{87F58B89-65CB-413E-B28A-87F72B1B99CC}"/>
          </ac:grpSpMkLst>
        </pc:grpChg>
        <pc:grpChg chg="add del mod">
          <ac:chgData name="Tan" userId="20e48cba-d982-468b-be47-641cf873d401" providerId="ADAL" clId="{F5E58D74-7948-4ADB-9542-6C85FE27686A}" dt="2021-10-19T14:01:10.100" v="384" actId="478"/>
          <ac:grpSpMkLst>
            <pc:docMk/>
            <pc:sldMk cId="4257924119" sldId="335"/>
            <ac:grpSpMk id="23" creationId="{0C0B6D16-1951-4A11-A2EC-B1864C226A67}"/>
          </ac:grpSpMkLst>
        </pc:grpChg>
        <pc:grpChg chg="add mod">
          <ac:chgData name="Tan" userId="20e48cba-d982-468b-be47-641cf873d401" providerId="ADAL" clId="{F5E58D74-7948-4ADB-9542-6C85FE27686A}" dt="2021-10-19T14:02:57.713" v="393" actId="1076"/>
          <ac:grpSpMkLst>
            <pc:docMk/>
            <pc:sldMk cId="4257924119" sldId="335"/>
            <ac:grpSpMk id="29" creationId="{E9A482BD-6115-4BF1-949A-E2A55D1914F6}"/>
          </ac:grpSpMkLst>
        </pc:grpChg>
        <pc:grpChg chg="add mod">
          <ac:chgData name="Tan" userId="20e48cba-d982-468b-be47-641cf873d401" providerId="ADAL" clId="{F5E58D74-7948-4ADB-9542-6C85FE27686A}" dt="2021-10-19T14:04:05.200" v="411" actId="1076"/>
          <ac:grpSpMkLst>
            <pc:docMk/>
            <pc:sldMk cId="4257924119" sldId="335"/>
            <ac:grpSpMk id="33" creationId="{02F81D08-60F9-4A4C-B445-B77935699B6F}"/>
          </ac:grpSpMkLst>
        </pc:grpChg>
        <pc:picChg chg="add del mod">
          <ac:chgData name="Tan" userId="20e48cba-d982-468b-be47-641cf873d401" providerId="ADAL" clId="{F5E58D74-7948-4ADB-9542-6C85FE27686A}" dt="2021-10-19T13:50:33.680" v="259" actId="478"/>
          <ac:picMkLst>
            <pc:docMk/>
            <pc:sldMk cId="4257924119" sldId="335"/>
            <ac:picMk id="3" creationId="{886F2520-E014-4DFD-99F4-05A5B6ADFF10}"/>
          </ac:picMkLst>
        </pc:picChg>
        <pc:picChg chg="add del mod">
          <ac:chgData name="Tan" userId="20e48cba-d982-468b-be47-641cf873d401" providerId="ADAL" clId="{F5E58D74-7948-4ADB-9542-6C85FE27686A}" dt="2021-10-19T13:51:30.801" v="273" actId="478"/>
          <ac:picMkLst>
            <pc:docMk/>
            <pc:sldMk cId="4257924119" sldId="335"/>
            <ac:picMk id="5" creationId="{87B94070-8C90-45F1-B3B8-6E15C7C961DC}"/>
          </ac:picMkLst>
        </pc:picChg>
      </pc:sldChg>
      <pc:sldChg chg="addSp delSp modSp new mod setBg addAnim">
        <pc:chgData name="Tan" userId="20e48cba-d982-468b-be47-641cf873d401" providerId="ADAL" clId="{F5E58D74-7948-4ADB-9542-6C85FE27686A}" dt="2021-10-19T15:10:17.357" v="1107"/>
        <pc:sldMkLst>
          <pc:docMk/>
          <pc:sldMk cId="990268362" sldId="336"/>
        </pc:sldMkLst>
        <pc:spChg chg="mod ord">
          <ac:chgData name="Tan" userId="20e48cba-d982-468b-be47-641cf873d401" providerId="ADAL" clId="{F5E58D74-7948-4ADB-9542-6C85FE27686A}" dt="2021-10-19T13:32:38.428" v="175" actId="26606"/>
          <ac:spMkLst>
            <pc:docMk/>
            <pc:sldMk cId="990268362" sldId="336"/>
            <ac:spMk id="2" creationId="{F1FCDA21-B467-470B-8113-EED371962CDA}"/>
          </ac:spMkLst>
        </pc:spChg>
        <pc:spChg chg="del">
          <ac:chgData name="Tan" userId="20e48cba-d982-468b-be47-641cf873d401" providerId="ADAL" clId="{F5E58D74-7948-4ADB-9542-6C85FE27686A}" dt="2021-10-19T13:32:16.181" v="152" actId="478"/>
          <ac:spMkLst>
            <pc:docMk/>
            <pc:sldMk cId="990268362" sldId="336"/>
            <ac:spMk id="3" creationId="{AA73636F-D3AB-40AD-8F2F-A93A6927E5AC}"/>
          </ac:spMkLst>
        </pc:spChg>
        <pc:spChg chg="add del">
          <ac:chgData name="Tan" userId="20e48cba-d982-468b-be47-641cf873d401" providerId="ADAL" clId="{F5E58D74-7948-4ADB-9542-6C85FE27686A}" dt="2021-10-19T13:32:28.106" v="172" actId="478"/>
          <ac:spMkLst>
            <pc:docMk/>
            <pc:sldMk cId="990268362" sldId="336"/>
            <ac:spMk id="5" creationId="{C865690B-A20E-41E8-84DA-5CB652992784}"/>
          </ac:spMkLst>
        </pc:spChg>
        <pc:spChg chg="del">
          <ac:chgData name="Tan" userId="20e48cba-d982-468b-be47-641cf873d401" providerId="ADAL" clId="{F5E58D74-7948-4ADB-9542-6C85FE27686A}" dt="2021-10-19T15:10:17.357" v="1107"/>
          <ac:spMkLst>
            <pc:docMk/>
            <pc:sldMk cId="990268362" sldId="336"/>
            <ac:spMk id="7" creationId="{F4D58D65-1F8E-4275-91E8-143D2ADB291C}"/>
          </ac:spMkLst>
        </pc:spChg>
        <pc:spChg chg="add">
          <ac:chgData name="Tan" userId="20e48cba-d982-468b-be47-641cf873d401" providerId="ADAL" clId="{F5E58D74-7948-4ADB-9542-6C85FE27686A}" dt="2021-10-19T13:32:38.428" v="175" actId="26606"/>
          <ac:spMkLst>
            <pc:docMk/>
            <pc:sldMk cId="990268362" sldId="336"/>
            <ac:spMk id="11" creationId="{303CC970-4826-4CED-8063-0FB676635452}"/>
          </ac:spMkLst>
        </pc:spChg>
        <pc:spChg chg="add">
          <ac:chgData name="Tan" userId="20e48cba-d982-468b-be47-641cf873d401" providerId="ADAL" clId="{F5E58D74-7948-4ADB-9542-6C85FE27686A}" dt="2021-10-19T13:32:38.428" v="175" actId="26606"/>
          <ac:spMkLst>
            <pc:docMk/>
            <pc:sldMk cId="990268362" sldId="336"/>
            <ac:spMk id="13" creationId="{14490D63-3365-45CC-AC50-705C1B76815F}"/>
          </ac:spMkLst>
        </pc:spChg>
        <pc:picChg chg="add mod">
          <ac:chgData name="Tan" userId="20e48cba-d982-468b-be47-641cf873d401" providerId="ADAL" clId="{F5E58D74-7948-4ADB-9542-6C85FE27686A}" dt="2021-10-19T13:33:15.728" v="181" actId="1076"/>
          <ac:picMkLst>
            <pc:docMk/>
            <pc:sldMk cId="990268362" sldId="336"/>
            <ac:picMk id="6" creationId="{E91A6006-B982-43B9-874A-E637FA4F8238}"/>
          </ac:picMkLst>
        </pc:picChg>
      </pc:sldChg>
      <pc:sldChg chg="modSp add del mod setBg">
        <pc:chgData name="Tan" userId="20e48cba-d982-468b-be47-641cf873d401" providerId="ADAL" clId="{F5E58D74-7948-4ADB-9542-6C85FE27686A}" dt="2021-10-19T15:21:04.499" v="1142" actId="47"/>
        <pc:sldMkLst>
          <pc:docMk/>
          <pc:sldMk cId="1534213794" sldId="337"/>
        </pc:sldMkLst>
        <pc:spChg chg="mod">
          <ac:chgData name="Tan" userId="20e48cba-d982-468b-be47-641cf873d401" providerId="ADAL" clId="{F5E58D74-7948-4ADB-9542-6C85FE27686A}" dt="2021-10-19T14:13:43.228" v="497" actId="207"/>
          <ac:spMkLst>
            <pc:docMk/>
            <pc:sldMk cId="1534213794" sldId="337"/>
            <ac:spMk id="7" creationId="{6000767E-401F-4523-8FB5-9831749785B4}"/>
          </ac:spMkLst>
        </pc:spChg>
        <pc:spChg chg="mod">
          <ac:chgData name="Tan" userId="20e48cba-d982-468b-be47-641cf873d401" providerId="ADAL" clId="{F5E58D74-7948-4ADB-9542-6C85FE27686A}" dt="2021-10-19T14:14:06.537" v="504" actId="14100"/>
          <ac:spMkLst>
            <pc:docMk/>
            <pc:sldMk cId="1534213794" sldId="337"/>
            <ac:spMk id="16" creationId="{025BF8E0-0BC0-4524-A8D5-8EF74DC1EA48}"/>
          </ac:spMkLst>
        </pc:spChg>
        <pc:spChg chg="mod">
          <ac:chgData name="Tan" userId="20e48cba-d982-468b-be47-641cf873d401" providerId="ADAL" clId="{F5E58D74-7948-4ADB-9542-6C85FE27686A}" dt="2021-10-19T14:17:18.190" v="510" actId="207"/>
          <ac:spMkLst>
            <pc:docMk/>
            <pc:sldMk cId="1534213794" sldId="337"/>
            <ac:spMk id="21" creationId="{EF862DD2-291B-4CEF-8192-1016B7239099}"/>
          </ac:spMkLst>
        </pc:spChg>
        <pc:spChg chg="mod">
          <ac:chgData name="Tan" userId="20e48cba-d982-468b-be47-641cf873d401" providerId="ADAL" clId="{F5E58D74-7948-4ADB-9542-6C85FE27686A}" dt="2021-10-19T14:13:24.807" v="485" actId="20577"/>
          <ac:spMkLst>
            <pc:docMk/>
            <pc:sldMk cId="1534213794" sldId="337"/>
            <ac:spMk id="30" creationId="{C3740AB4-AD77-47DA-9B2D-7F4F6A6F379A}"/>
          </ac:spMkLst>
        </pc:spChg>
        <pc:spChg chg="mod">
          <ac:chgData name="Tan" userId="20e48cba-d982-468b-be47-641cf873d401" providerId="ADAL" clId="{F5E58D74-7948-4ADB-9542-6C85FE27686A}" dt="2021-10-19T14:14:18.608" v="506" actId="14100"/>
          <ac:spMkLst>
            <pc:docMk/>
            <pc:sldMk cId="1534213794" sldId="337"/>
            <ac:spMk id="31" creationId="{422F1B3E-B4CD-42EB-8ACF-7DA082373371}"/>
          </ac:spMkLst>
        </pc:spChg>
        <pc:spChg chg="mod">
          <ac:chgData name="Tan" userId="20e48cba-d982-468b-be47-641cf873d401" providerId="ADAL" clId="{F5E58D74-7948-4ADB-9542-6C85FE27686A}" dt="2021-10-19T14:18:25.485" v="511" actId="207"/>
          <ac:spMkLst>
            <pc:docMk/>
            <pc:sldMk cId="1534213794" sldId="337"/>
            <ac:spMk id="32" creationId="{427156B1-5F9F-4100-8102-B5046200034C}"/>
          </ac:spMkLst>
        </pc:spChg>
        <pc:spChg chg="mod">
          <ac:chgData name="Tan" userId="20e48cba-d982-468b-be47-641cf873d401" providerId="ADAL" clId="{F5E58D74-7948-4ADB-9542-6C85FE27686A}" dt="2021-10-19T14:13:51.638" v="502" actId="20577"/>
          <ac:spMkLst>
            <pc:docMk/>
            <pc:sldMk cId="1534213794" sldId="337"/>
            <ac:spMk id="34" creationId="{25745ADB-4075-4992-A4BC-B1C163681776}"/>
          </ac:spMkLst>
        </pc:spChg>
        <pc:spChg chg="mod">
          <ac:chgData name="Tan" userId="20e48cba-d982-468b-be47-641cf873d401" providerId="ADAL" clId="{F5E58D74-7948-4ADB-9542-6C85FE27686A}" dt="2021-10-19T14:14:27.791" v="507"/>
          <ac:spMkLst>
            <pc:docMk/>
            <pc:sldMk cId="1534213794" sldId="337"/>
            <ac:spMk id="35" creationId="{426E2050-1D0A-4CBB-85D8-4451A6F3666E}"/>
          </ac:spMkLst>
        </pc:spChg>
        <pc:spChg chg="mod">
          <ac:chgData name="Tan" userId="20e48cba-d982-468b-be47-641cf873d401" providerId="ADAL" clId="{F5E58D74-7948-4ADB-9542-6C85FE27686A}" dt="2021-10-19T14:19:27.552" v="512" actId="207"/>
          <ac:spMkLst>
            <pc:docMk/>
            <pc:sldMk cId="1534213794" sldId="337"/>
            <ac:spMk id="36" creationId="{1B43EB63-9FB7-4851-A1A6-79391D3C765A}"/>
          </ac:spMkLst>
        </pc:spChg>
      </pc:sldChg>
      <pc:sldChg chg="addSp delSp modSp add del mod ord">
        <pc:chgData name="Tan" userId="20e48cba-d982-468b-be47-641cf873d401" providerId="ADAL" clId="{F5E58D74-7948-4ADB-9542-6C85FE27686A}" dt="2021-10-19T15:19:53.648" v="1138" actId="47"/>
        <pc:sldMkLst>
          <pc:docMk/>
          <pc:sldMk cId="4082206823" sldId="338"/>
        </pc:sldMkLst>
        <pc:spChg chg="add mod">
          <ac:chgData name="Tan" userId="20e48cba-d982-468b-be47-641cf873d401" providerId="ADAL" clId="{F5E58D74-7948-4ADB-9542-6C85FE27686A}" dt="2021-10-19T14:39:43.955" v="711" actId="1076"/>
          <ac:spMkLst>
            <pc:docMk/>
            <pc:sldMk cId="4082206823" sldId="338"/>
            <ac:spMk id="17" creationId="{CDAB66D5-C833-415E-9200-456F71431D1B}"/>
          </ac:spMkLst>
        </pc:spChg>
        <pc:spChg chg="add mod">
          <ac:chgData name="Tan" userId="20e48cba-d982-468b-be47-641cf873d401" providerId="ADAL" clId="{F5E58D74-7948-4ADB-9542-6C85FE27686A}" dt="2021-10-19T14:37:01.742" v="694" actId="14100"/>
          <ac:spMkLst>
            <pc:docMk/>
            <pc:sldMk cId="4082206823" sldId="338"/>
            <ac:spMk id="19" creationId="{C148BBAF-CECB-4261-81C0-77269E94C895}"/>
          </ac:spMkLst>
        </pc:spChg>
        <pc:spChg chg="add mod">
          <ac:chgData name="Tan" userId="20e48cba-d982-468b-be47-641cf873d401" providerId="ADAL" clId="{F5E58D74-7948-4ADB-9542-6C85FE27686A}" dt="2021-10-19T14:39:55.437" v="713" actId="1076"/>
          <ac:spMkLst>
            <pc:docMk/>
            <pc:sldMk cId="4082206823" sldId="338"/>
            <ac:spMk id="23" creationId="{934B373B-6339-43B4-A3CE-579AE032BFED}"/>
          </ac:spMkLst>
        </pc:spChg>
        <pc:spChg chg="mod">
          <ac:chgData name="Tan" userId="20e48cba-d982-468b-be47-641cf873d401" providerId="ADAL" clId="{F5E58D74-7948-4ADB-9542-6C85FE27686A}" dt="2021-10-19T14:35:16.687" v="660" actId="6549"/>
          <ac:spMkLst>
            <pc:docMk/>
            <pc:sldMk cId="4082206823" sldId="338"/>
            <ac:spMk id="31" creationId="{422F1B3E-B4CD-42EB-8ACF-7DA082373371}"/>
          </ac:spMkLst>
        </pc:spChg>
        <pc:spChg chg="mod">
          <ac:chgData name="Tan" userId="20e48cba-d982-468b-be47-641cf873d401" providerId="ADAL" clId="{F5E58D74-7948-4ADB-9542-6C85FE27686A}" dt="2021-10-19T14:34:59.361" v="655" actId="20577"/>
          <ac:spMkLst>
            <pc:docMk/>
            <pc:sldMk cId="4082206823" sldId="338"/>
            <ac:spMk id="38" creationId="{8579E909-0441-473A-8CC7-5918A5ACD0B2}"/>
          </ac:spMkLst>
        </pc:spChg>
        <pc:grpChg chg="add del">
          <ac:chgData name="Tan" userId="20e48cba-d982-468b-be47-641cf873d401" providerId="ADAL" clId="{F5E58D74-7948-4ADB-9542-6C85FE27686A}" dt="2021-10-19T14:35:29.073" v="662" actId="478"/>
          <ac:grpSpMkLst>
            <pc:docMk/>
            <pc:sldMk cId="4082206823" sldId="338"/>
            <ac:grpSpMk id="22" creationId="{87F58B89-65CB-413E-B28A-87F72B1B99CC}"/>
          </ac:grpSpMkLst>
        </pc:grpChg>
        <pc:grpChg chg="add del">
          <ac:chgData name="Tan" userId="20e48cba-d982-468b-be47-641cf873d401" providerId="ADAL" clId="{F5E58D74-7948-4ADB-9542-6C85FE27686A}" dt="2021-10-19T14:35:30.406" v="663" actId="478"/>
          <ac:grpSpMkLst>
            <pc:docMk/>
            <pc:sldMk cId="4082206823" sldId="338"/>
            <ac:grpSpMk id="29" creationId="{E9A482BD-6115-4BF1-949A-E2A55D1914F6}"/>
          </ac:grpSpMkLst>
        </pc:grpChg>
        <pc:grpChg chg="del">
          <ac:chgData name="Tan" userId="20e48cba-d982-468b-be47-641cf873d401" providerId="ADAL" clId="{F5E58D74-7948-4ADB-9542-6C85FE27686A}" dt="2021-10-19T14:35:31.883" v="664" actId="478"/>
          <ac:grpSpMkLst>
            <pc:docMk/>
            <pc:sldMk cId="4082206823" sldId="338"/>
            <ac:grpSpMk id="33" creationId="{02F81D08-60F9-4A4C-B445-B77935699B6F}"/>
          </ac:grpSpMkLst>
        </pc:grpChg>
        <pc:picChg chg="add mod">
          <ac:chgData name="Tan" userId="20e48cba-d982-468b-be47-641cf873d401" providerId="ADAL" clId="{F5E58D74-7948-4ADB-9542-6C85FE27686A}" dt="2021-10-19T14:39:32.011" v="710" actId="1076"/>
          <ac:picMkLst>
            <pc:docMk/>
            <pc:sldMk cId="4082206823" sldId="338"/>
            <ac:picMk id="9" creationId="{1119EF1D-084F-4B63-8C9F-2FD70CD5BE58}"/>
          </ac:picMkLst>
        </pc:picChg>
        <pc:cxnChg chg="add mod">
          <ac:chgData name="Tan" userId="20e48cba-d982-468b-be47-641cf873d401" providerId="ADAL" clId="{F5E58D74-7948-4ADB-9542-6C85FE27686A}" dt="2021-10-19T14:40:13.749" v="715" actId="14100"/>
          <ac:cxnSpMkLst>
            <pc:docMk/>
            <pc:sldMk cId="4082206823" sldId="338"/>
            <ac:cxnSpMk id="6" creationId="{EB40DFE8-A569-40CF-A503-2A7DD3DFC6FC}"/>
          </ac:cxnSpMkLst>
        </pc:cxnChg>
        <pc:cxnChg chg="add del mod">
          <ac:chgData name="Tan" userId="20e48cba-d982-468b-be47-641cf873d401" providerId="ADAL" clId="{F5E58D74-7948-4ADB-9542-6C85FE27686A}" dt="2021-10-19T14:40:15.879" v="716" actId="478"/>
          <ac:cxnSpMkLst>
            <pc:docMk/>
            <pc:sldMk cId="4082206823" sldId="338"/>
            <ac:cxnSpMk id="24" creationId="{2941C514-D388-4E37-BE09-B0097C39F966}"/>
          </ac:cxnSpMkLst>
        </pc:cxnChg>
        <pc:cxnChg chg="add mod">
          <ac:chgData name="Tan" userId="20e48cba-d982-468b-be47-641cf873d401" providerId="ADAL" clId="{F5E58D74-7948-4ADB-9542-6C85FE27686A}" dt="2021-10-19T14:40:23.783" v="718" actId="1076"/>
          <ac:cxnSpMkLst>
            <pc:docMk/>
            <pc:sldMk cId="4082206823" sldId="338"/>
            <ac:cxnSpMk id="28" creationId="{78A72356-3407-4D95-BCDC-8E73672D0E9E}"/>
          </ac:cxnSpMkLst>
        </pc:cxnChg>
      </pc:sldChg>
      <pc:sldChg chg="addSp delSp modSp add del mod ord">
        <pc:chgData name="Tan" userId="20e48cba-d982-468b-be47-641cf873d401" providerId="ADAL" clId="{F5E58D74-7948-4ADB-9542-6C85FE27686A}" dt="2021-10-19T15:18:28.644" v="1126" actId="47"/>
        <pc:sldMkLst>
          <pc:docMk/>
          <pc:sldMk cId="2178128967" sldId="339"/>
        </pc:sldMkLst>
        <pc:spChg chg="add del mod">
          <ac:chgData name="Tan" userId="20e48cba-d982-468b-be47-641cf873d401" providerId="ADAL" clId="{F5E58D74-7948-4ADB-9542-6C85FE27686A}" dt="2021-10-19T14:43:21.717" v="752" actId="478"/>
          <ac:spMkLst>
            <pc:docMk/>
            <pc:sldMk cId="2178128967" sldId="339"/>
            <ac:spMk id="4" creationId="{E5A3D773-F071-4E59-9BD3-6966BF1F64FD}"/>
          </ac:spMkLst>
        </pc:spChg>
        <pc:spChg chg="mod">
          <ac:chgData name="Tan" userId="20e48cba-d982-468b-be47-641cf873d401" providerId="ADAL" clId="{F5E58D74-7948-4ADB-9542-6C85FE27686A}" dt="2021-10-19T14:45:35.103" v="787" actId="1076"/>
          <ac:spMkLst>
            <pc:docMk/>
            <pc:sldMk cId="2178128967" sldId="339"/>
            <ac:spMk id="17" creationId="{CDAB66D5-C833-415E-9200-456F71431D1B}"/>
          </ac:spMkLst>
        </pc:spChg>
        <pc:spChg chg="mod">
          <ac:chgData name="Tan" userId="20e48cba-d982-468b-be47-641cf873d401" providerId="ADAL" clId="{F5E58D74-7948-4ADB-9542-6C85FE27686A}" dt="2021-10-19T14:46:12.359" v="799" actId="1076"/>
          <ac:spMkLst>
            <pc:docMk/>
            <pc:sldMk cId="2178128967" sldId="339"/>
            <ac:spMk id="19" creationId="{C148BBAF-CECB-4261-81C0-77269E94C895}"/>
          </ac:spMkLst>
        </pc:spChg>
        <pc:spChg chg="mod">
          <ac:chgData name="Tan" userId="20e48cba-d982-468b-be47-641cf873d401" providerId="ADAL" clId="{F5E58D74-7948-4ADB-9542-6C85FE27686A}" dt="2021-10-19T14:46:17.487" v="800" actId="1076"/>
          <ac:spMkLst>
            <pc:docMk/>
            <pc:sldMk cId="2178128967" sldId="339"/>
            <ac:spMk id="23" creationId="{934B373B-6339-43B4-A3CE-579AE032BFED}"/>
          </ac:spMkLst>
        </pc:spChg>
        <pc:spChg chg="mod">
          <ac:chgData name="Tan" userId="20e48cba-d982-468b-be47-641cf873d401" providerId="ADAL" clId="{F5E58D74-7948-4ADB-9542-6C85FE27686A}" dt="2021-10-19T14:40:43.928" v="728" actId="20577"/>
          <ac:spMkLst>
            <pc:docMk/>
            <pc:sldMk cId="2178128967" sldId="339"/>
            <ac:spMk id="38" creationId="{8579E909-0441-473A-8CC7-5918A5ACD0B2}"/>
          </ac:spMkLst>
        </pc:spChg>
        <pc:picChg chg="add del mod">
          <ac:chgData name="Tan" userId="20e48cba-d982-468b-be47-641cf873d401" providerId="ADAL" clId="{F5E58D74-7948-4ADB-9542-6C85FE27686A}" dt="2021-10-19T14:43:21.089" v="751" actId="478"/>
          <ac:picMkLst>
            <pc:docMk/>
            <pc:sldMk cId="2178128967" sldId="339"/>
            <ac:picMk id="3" creationId="{F69F1ADE-3EDC-4CC0-B1FF-9B27B425A0D2}"/>
          </ac:picMkLst>
        </pc:picChg>
        <pc:picChg chg="add del mod">
          <ac:chgData name="Tan" userId="20e48cba-d982-468b-be47-641cf873d401" providerId="ADAL" clId="{F5E58D74-7948-4ADB-9542-6C85FE27686A}" dt="2021-10-19T14:43:49.210" v="762" actId="478"/>
          <ac:picMkLst>
            <pc:docMk/>
            <pc:sldMk cId="2178128967" sldId="339"/>
            <ac:picMk id="7" creationId="{8AD95114-CA8E-457B-B068-F7F141A61DB3}"/>
          </ac:picMkLst>
        </pc:picChg>
        <pc:picChg chg="del">
          <ac:chgData name="Tan" userId="20e48cba-d982-468b-be47-641cf873d401" providerId="ADAL" clId="{F5E58D74-7948-4ADB-9542-6C85FE27686A}" dt="2021-10-19T14:42:01.817" v="729" actId="478"/>
          <ac:picMkLst>
            <pc:docMk/>
            <pc:sldMk cId="2178128967" sldId="339"/>
            <ac:picMk id="9" creationId="{1119EF1D-084F-4B63-8C9F-2FD70CD5BE58}"/>
          </ac:picMkLst>
        </pc:picChg>
        <pc:picChg chg="add del mod">
          <ac:chgData name="Tan" userId="20e48cba-d982-468b-be47-641cf873d401" providerId="ADAL" clId="{F5E58D74-7948-4ADB-9542-6C85FE27686A}" dt="2021-10-19T14:44:33.900" v="775" actId="478"/>
          <ac:picMkLst>
            <pc:docMk/>
            <pc:sldMk cId="2178128967" sldId="339"/>
            <ac:picMk id="10" creationId="{3165E2DA-8E4D-46B8-973A-66EE95E21A22}"/>
          </ac:picMkLst>
        </pc:picChg>
        <pc:picChg chg="add del mod">
          <ac:chgData name="Tan" userId="20e48cba-d982-468b-be47-641cf873d401" providerId="ADAL" clId="{F5E58D74-7948-4ADB-9542-6C85FE27686A}" dt="2021-10-19T14:42:39.359" v="744" actId="478"/>
          <ac:picMkLst>
            <pc:docMk/>
            <pc:sldMk cId="2178128967" sldId="339"/>
            <ac:picMk id="12" creationId="{2A848F7E-7202-4E26-B52E-C83B2409468B}"/>
          </ac:picMkLst>
        </pc:picChg>
        <pc:picChg chg="add mod">
          <ac:chgData name="Tan" userId="20e48cba-d982-468b-be47-641cf873d401" providerId="ADAL" clId="{F5E58D74-7948-4ADB-9542-6C85FE27686A}" dt="2021-10-19T14:45:20.722" v="784" actId="1076"/>
          <ac:picMkLst>
            <pc:docMk/>
            <pc:sldMk cId="2178128967" sldId="339"/>
            <ac:picMk id="18" creationId="{6B11CA50-F117-42D5-A019-CAA63A3CF80A}"/>
          </ac:picMkLst>
        </pc:picChg>
        <pc:picChg chg="add del mod">
          <ac:chgData name="Tan" userId="20e48cba-d982-468b-be47-641cf873d401" providerId="ADAL" clId="{F5E58D74-7948-4ADB-9542-6C85FE27686A}" dt="2021-10-19T14:45:12.912" v="782" actId="478"/>
          <ac:picMkLst>
            <pc:docMk/>
            <pc:sldMk cId="2178128967" sldId="339"/>
            <ac:picMk id="20" creationId="{E1367230-5441-4AE4-9BDC-DDA45AF74869}"/>
          </ac:picMkLst>
        </pc:picChg>
        <pc:cxnChg chg="mod">
          <ac:chgData name="Tan" userId="20e48cba-d982-468b-be47-641cf873d401" providerId="ADAL" clId="{F5E58D74-7948-4ADB-9542-6C85FE27686A}" dt="2021-10-19T14:46:04.427" v="797" actId="1076"/>
          <ac:cxnSpMkLst>
            <pc:docMk/>
            <pc:sldMk cId="2178128967" sldId="339"/>
            <ac:cxnSpMk id="28" creationId="{78A72356-3407-4D95-BCDC-8E73672D0E9E}"/>
          </ac:cxnSpMkLst>
        </pc:cxnChg>
      </pc:sldChg>
      <pc:sldChg chg="addSp delSp modSp add mod">
        <pc:chgData name="Tan" userId="20e48cba-d982-468b-be47-641cf873d401" providerId="ADAL" clId="{F5E58D74-7948-4ADB-9542-6C85FE27686A}" dt="2021-10-19T15:50:09.447" v="1287" actId="20577"/>
        <pc:sldMkLst>
          <pc:docMk/>
          <pc:sldMk cId="923699745" sldId="340"/>
        </pc:sldMkLst>
        <pc:spChg chg="del mod">
          <ac:chgData name="Tan" userId="20e48cba-d982-468b-be47-641cf873d401" providerId="ADAL" clId="{F5E58D74-7948-4ADB-9542-6C85FE27686A}" dt="2021-10-19T15:18:13.580" v="1123" actId="478"/>
          <ac:spMkLst>
            <pc:docMk/>
            <pc:sldMk cId="923699745" sldId="340"/>
            <ac:spMk id="3" creationId="{F89D7F64-198B-4936-B681-D6066F272A9A}"/>
          </ac:spMkLst>
        </pc:spChg>
        <pc:spChg chg="del">
          <ac:chgData name="Tan" userId="20e48cba-d982-468b-be47-641cf873d401" providerId="ADAL" clId="{F5E58D74-7948-4ADB-9542-6C85FE27686A}" dt="2021-10-19T15:18:04.485" v="1111" actId="478"/>
          <ac:spMkLst>
            <pc:docMk/>
            <pc:sldMk cId="923699745" sldId="340"/>
            <ac:spMk id="4" creationId="{B24CEA83-3EDA-4925-92BF-C5C8D0A4BEA0}"/>
          </ac:spMkLst>
        </pc:spChg>
        <pc:spChg chg="del mod">
          <ac:chgData name="Tan" userId="20e48cba-d982-468b-be47-641cf873d401" providerId="ADAL" clId="{F5E58D74-7948-4ADB-9542-6C85FE27686A}" dt="2021-10-19T15:18:07.357" v="1115" actId="478"/>
          <ac:spMkLst>
            <pc:docMk/>
            <pc:sldMk cId="923699745" sldId="340"/>
            <ac:spMk id="8" creationId="{B893367A-DE2A-4596-8943-1B4D9F17ADE5}"/>
          </ac:spMkLst>
        </pc:spChg>
        <pc:spChg chg="del mod">
          <ac:chgData name="Tan" userId="20e48cba-d982-468b-be47-641cf873d401" providerId="ADAL" clId="{F5E58D74-7948-4ADB-9542-6C85FE27686A}" dt="2021-10-19T15:18:11.658" v="1121" actId="478"/>
          <ac:spMkLst>
            <pc:docMk/>
            <pc:sldMk cId="923699745" sldId="340"/>
            <ac:spMk id="9" creationId="{61785E7A-F957-47BA-9863-7E4FA5F1870F}"/>
          </ac:spMkLst>
        </pc:spChg>
        <pc:spChg chg="add mod">
          <ac:chgData name="Tan" userId="20e48cba-d982-468b-be47-641cf873d401" providerId="ADAL" clId="{F5E58D74-7948-4ADB-9542-6C85FE27686A}" dt="2021-10-19T15:18:15.272" v="1125"/>
          <ac:spMkLst>
            <pc:docMk/>
            <pc:sldMk cId="923699745" sldId="340"/>
            <ac:spMk id="15" creationId="{450A45BE-C8DA-42C8-BA87-2542009EEE7C}"/>
          </ac:spMkLst>
        </pc:spChg>
        <pc:spChg chg="add mod">
          <ac:chgData name="Tan" userId="20e48cba-d982-468b-be47-641cf873d401" providerId="ADAL" clId="{F5E58D74-7948-4ADB-9542-6C85FE27686A}" dt="2021-10-19T15:50:09.447" v="1287" actId="20577"/>
          <ac:spMkLst>
            <pc:docMk/>
            <pc:sldMk cId="923699745" sldId="340"/>
            <ac:spMk id="18" creationId="{907AA1F2-AEBF-4BD5-8F43-2AB381303E80}"/>
          </ac:spMkLst>
        </pc:spChg>
        <pc:spChg chg="add mod">
          <ac:chgData name="Tan" userId="20e48cba-d982-468b-be47-641cf873d401" providerId="ADAL" clId="{F5E58D74-7948-4ADB-9542-6C85FE27686A}" dt="2021-10-19T15:18:15.272" v="1125"/>
          <ac:spMkLst>
            <pc:docMk/>
            <pc:sldMk cId="923699745" sldId="340"/>
            <ac:spMk id="19" creationId="{49C595AA-51F6-4E9C-A5FB-C02222300DCF}"/>
          </ac:spMkLst>
        </pc:spChg>
        <pc:spChg chg="add mod">
          <ac:chgData name="Tan" userId="20e48cba-d982-468b-be47-641cf873d401" providerId="ADAL" clId="{F5E58D74-7948-4ADB-9542-6C85FE27686A}" dt="2021-10-19T15:18:15.272" v="1125"/>
          <ac:spMkLst>
            <pc:docMk/>
            <pc:sldMk cId="923699745" sldId="340"/>
            <ac:spMk id="21" creationId="{3A579730-4056-4C6F-B95D-1263B53CF714}"/>
          </ac:spMkLst>
        </pc:spChg>
        <pc:spChg chg="add mod">
          <ac:chgData name="Tan" userId="20e48cba-d982-468b-be47-641cf873d401" providerId="ADAL" clId="{F5E58D74-7948-4ADB-9542-6C85FE27686A}" dt="2021-10-19T15:18:15.272" v="1125"/>
          <ac:spMkLst>
            <pc:docMk/>
            <pc:sldMk cId="923699745" sldId="340"/>
            <ac:spMk id="22" creationId="{C02D202C-1240-41EC-B833-24DF9CB3F7CF}"/>
          </ac:spMkLst>
        </pc:spChg>
        <pc:picChg chg="del">
          <ac:chgData name="Tan" userId="20e48cba-d982-468b-be47-641cf873d401" providerId="ADAL" clId="{F5E58D74-7948-4ADB-9542-6C85FE27686A}" dt="2021-10-19T15:18:10.063" v="1118" actId="478"/>
          <ac:picMkLst>
            <pc:docMk/>
            <pc:sldMk cId="923699745" sldId="340"/>
            <ac:picMk id="5" creationId="{B3EB4551-D899-4B29-B886-FFE788ADE385}"/>
          </ac:picMkLst>
        </pc:picChg>
        <pc:picChg chg="del">
          <ac:chgData name="Tan" userId="20e48cba-d982-468b-be47-641cf873d401" providerId="ADAL" clId="{F5E58D74-7948-4ADB-9542-6C85FE27686A}" dt="2021-10-19T15:18:05.176" v="1112" actId="478"/>
          <ac:picMkLst>
            <pc:docMk/>
            <pc:sldMk cId="923699745" sldId="340"/>
            <ac:picMk id="6" creationId="{E48E24C9-BCDB-4EDB-A18D-24BA04D6D808}"/>
          </ac:picMkLst>
        </pc:picChg>
        <pc:picChg chg="del">
          <ac:chgData name="Tan" userId="20e48cba-d982-468b-be47-641cf873d401" providerId="ADAL" clId="{F5E58D74-7948-4ADB-9542-6C85FE27686A}" dt="2021-10-19T15:18:10.567" v="1119" actId="478"/>
          <ac:picMkLst>
            <pc:docMk/>
            <pc:sldMk cId="923699745" sldId="340"/>
            <ac:picMk id="7" creationId="{5B97C1C5-64EB-434D-A496-E8C7E81ADE8A}"/>
          </ac:picMkLst>
        </pc:picChg>
        <pc:picChg chg="del">
          <ac:chgData name="Tan" userId="20e48cba-d982-468b-be47-641cf873d401" providerId="ADAL" clId="{F5E58D74-7948-4ADB-9542-6C85FE27686A}" dt="2021-10-19T15:18:05.750" v="1113" actId="478"/>
          <ac:picMkLst>
            <pc:docMk/>
            <pc:sldMk cId="923699745" sldId="340"/>
            <ac:picMk id="16" creationId="{8C1B3448-AC5F-43E2-B6B5-D3C1A9349F52}"/>
          </ac:picMkLst>
        </pc:picChg>
        <pc:picChg chg="add mod">
          <ac:chgData name="Tan" userId="20e48cba-d982-468b-be47-641cf873d401" providerId="ADAL" clId="{F5E58D74-7948-4ADB-9542-6C85FE27686A}" dt="2021-10-19T15:18:15.272" v="1125"/>
          <ac:picMkLst>
            <pc:docMk/>
            <pc:sldMk cId="923699745" sldId="340"/>
            <ac:picMk id="25" creationId="{5AC678EE-B413-42D8-AC56-22CDFFD51D5E}"/>
          </ac:picMkLst>
        </pc:picChg>
        <pc:cxnChg chg="del">
          <ac:chgData name="Tan" userId="20e48cba-d982-468b-be47-641cf873d401" providerId="ADAL" clId="{F5E58D74-7948-4ADB-9542-6C85FE27686A}" dt="2021-10-19T15:18:07.907" v="1116" actId="478"/>
          <ac:cxnSpMkLst>
            <pc:docMk/>
            <pc:sldMk cId="923699745" sldId="340"/>
            <ac:cxnSpMk id="12" creationId="{1539DCE8-E772-4EF6-ADFB-E5E06A6AC758}"/>
          </ac:cxnSpMkLst>
        </pc:cxnChg>
        <pc:cxnChg chg="del">
          <ac:chgData name="Tan" userId="20e48cba-d982-468b-be47-641cf873d401" providerId="ADAL" clId="{F5E58D74-7948-4ADB-9542-6C85FE27686A}" dt="2021-10-19T15:18:14.238" v="1124" actId="478"/>
          <ac:cxnSpMkLst>
            <pc:docMk/>
            <pc:sldMk cId="923699745" sldId="340"/>
            <ac:cxnSpMk id="13" creationId="{05116BFC-10BC-4091-912B-A2CCF30143FA}"/>
          </ac:cxnSpMkLst>
        </pc:cxnChg>
        <pc:cxnChg chg="del">
          <ac:chgData name="Tan" userId="20e48cba-d982-468b-be47-641cf873d401" providerId="ADAL" clId="{F5E58D74-7948-4ADB-9542-6C85FE27686A}" dt="2021-10-19T15:18:09.356" v="1117" actId="478"/>
          <ac:cxnSpMkLst>
            <pc:docMk/>
            <pc:sldMk cId="923699745" sldId="340"/>
            <ac:cxnSpMk id="17" creationId="{3EBE377F-9074-4987-BBDC-9E2EF78D50CA}"/>
          </ac:cxnSpMkLst>
        </pc:cxnChg>
        <pc:cxnChg chg="add mod">
          <ac:chgData name="Tan" userId="20e48cba-d982-468b-be47-641cf873d401" providerId="ADAL" clId="{F5E58D74-7948-4ADB-9542-6C85FE27686A}" dt="2021-10-19T15:18:15.272" v="1125"/>
          <ac:cxnSpMkLst>
            <pc:docMk/>
            <pc:sldMk cId="923699745" sldId="340"/>
            <ac:cxnSpMk id="23" creationId="{814AC546-7B83-4C93-9244-F871604CAD10}"/>
          </ac:cxnSpMkLst>
        </pc:cxnChg>
        <pc:cxnChg chg="add mod">
          <ac:chgData name="Tan" userId="20e48cba-d982-468b-be47-641cf873d401" providerId="ADAL" clId="{F5E58D74-7948-4ADB-9542-6C85FE27686A}" dt="2021-10-19T15:18:15.272" v="1125"/>
          <ac:cxnSpMkLst>
            <pc:docMk/>
            <pc:sldMk cId="923699745" sldId="340"/>
            <ac:cxnSpMk id="24" creationId="{B036D71E-BD13-45B7-A312-F825ABA7E66F}"/>
          </ac:cxnSpMkLst>
        </pc:cxnChg>
      </pc:sldChg>
      <pc:sldChg chg="addSp delSp modSp add del mod">
        <pc:chgData name="Tan" userId="20e48cba-d982-468b-be47-641cf873d401" providerId="ADAL" clId="{F5E58D74-7948-4ADB-9542-6C85FE27686A}" dt="2021-10-19T15:19:29.928" v="1133" actId="47"/>
        <pc:sldMkLst>
          <pc:docMk/>
          <pc:sldMk cId="2303678038" sldId="341"/>
        </pc:sldMkLst>
        <pc:spChg chg="del">
          <ac:chgData name="Tan" userId="20e48cba-d982-468b-be47-641cf873d401" providerId="ADAL" clId="{F5E58D74-7948-4ADB-9542-6C85FE27686A}" dt="2021-10-19T15:19:01.099" v="1128" actId="478"/>
          <ac:spMkLst>
            <pc:docMk/>
            <pc:sldMk cId="2303678038" sldId="341"/>
            <ac:spMk id="11" creationId="{5C66E887-3C9A-49ED-A9B7-634F96891EDC}"/>
          </ac:spMkLst>
        </pc:spChg>
        <pc:spChg chg="add del mod">
          <ac:chgData name="Tan" userId="20e48cba-d982-468b-be47-641cf873d401" providerId="ADAL" clId="{F5E58D74-7948-4ADB-9542-6C85FE27686A}" dt="2021-10-19T15:19:04.599" v="1130" actId="478"/>
          <ac:spMkLst>
            <pc:docMk/>
            <pc:sldMk cId="2303678038" sldId="341"/>
            <ac:spMk id="12" creationId="{7EC585B4-4E89-4517-80A1-2DAEE7029041}"/>
          </ac:spMkLst>
        </pc:spChg>
        <pc:spChg chg="add mod">
          <ac:chgData name="Tan" userId="20e48cba-d982-468b-be47-641cf873d401" providerId="ADAL" clId="{F5E58D74-7948-4ADB-9542-6C85FE27686A}" dt="2021-10-19T15:19:20.369" v="1131"/>
          <ac:spMkLst>
            <pc:docMk/>
            <pc:sldMk cId="2303678038" sldId="341"/>
            <ac:spMk id="13" creationId="{A9B61027-629E-4B08-B8E6-7F5FA30267BC}"/>
          </ac:spMkLst>
        </pc:spChg>
        <pc:spChg chg="add mod">
          <ac:chgData name="Tan" userId="20e48cba-d982-468b-be47-641cf873d401" providerId="ADAL" clId="{F5E58D74-7948-4ADB-9542-6C85FE27686A}" dt="2021-10-19T15:19:20.369" v="1131"/>
          <ac:spMkLst>
            <pc:docMk/>
            <pc:sldMk cId="2303678038" sldId="341"/>
            <ac:spMk id="14" creationId="{7A6C4D72-6292-4205-AA77-6DF1941F7183}"/>
          </ac:spMkLst>
        </pc:spChg>
        <pc:spChg chg="del">
          <ac:chgData name="Tan" userId="20e48cba-d982-468b-be47-641cf873d401" providerId="ADAL" clId="{F5E58D74-7948-4ADB-9542-6C85FE27686A}" dt="2021-10-19T15:19:01.099" v="1128" actId="478"/>
          <ac:spMkLst>
            <pc:docMk/>
            <pc:sldMk cId="2303678038" sldId="341"/>
            <ac:spMk id="15" creationId="{450A45BE-C8DA-42C8-BA87-2542009EEE7C}"/>
          </ac:spMkLst>
        </pc:spChg>
        <pc:spChg chg="add mod">
          <ac:chgData name="Tan" userId="20e48cba-d982-468b-be47-641cf873d401" providerId="ADAL" clId="{F5E58D74-7948-4ADB-9542-6C85FE27686A}" dt="2021-10-19T15:19:20.369" v="1131"/>
          <ac:spMkLst>
            <pc:docMk/>
            <pc:sldMk cId="2303678038" sldId="341"/>
            <ac:spMk id="16" creationId="{3CBF64BE-7911-4C34-A1A1-F5B9E8DE63B8}"/>
          </ac:spMkLst>
        </pc:spChg>
        <pc:spChg chg="add mod">
          <ac:chgData name="Tan" userId="20e48cba-d982-468b-be47-641cf873d401" providerId="ADAL" clId="{F5E58D74-7948-4ADB-9542-6C85FE27686A}" dt="2021-10-19T15:19:20.369" v="1131"/>
          <ac:spMkLst>
            <pc:docMk/>
            <pc:sldMk cId="2303678038" sldId="341"/>
            <ac:spMk id="17" creationId="{7587FC19-53BD-4FA8-8EC8-621C0EFEDCD5}"/>
          </ac:spMkLst>
        </pc:spChg>
        <pc:spChg chg="del">
          <ac:chgData name="Tan" userId="20e48cba-d982-468b-be47-641cf873d401" providerId="ADAL" clId="{F5E58D74-7948-4ADB-9542-6C85FE27686A}" dt="2021-10-19T15:19:01.099" v="1128" actId="478"/>
          <ac:spMkLst>
            <pc:docMk/>
            <pc:sldMk cId="2303678038" sldId="341"/>
            <ac:spMk id="18" creationId="{907AA1F2-AEBF-4BD5-8F43-2AB381303E80}"/>
          </ac:spMkLst>
        </pc:spChg>
        <pc:spChg chg="del">
          <ac:chgData name="Tan" userId="20e48cba-d982-468b-be47-641cf873d401" providerId="ADAL" clId="{F5E58D74-7948-4ADB-9542-6C85FE27686A}" dt="2021-10-19T15:19:01.099" v="1128" actId="478"/>
          <ac:spMkLst>
            <pc:docMk/>
            <pc:sldMk cId="2303678038" sldId="341"/>
            <ac:spMk id="19" creationId="{49C595AA-51F6-4E9C-A5FB-C02222300DCF}"/>
          </ac:spMkLst>
        </pc:spChg>
        <pc:spChg chg="del">
          <ac:chgData name="Tan" userId="20e48cba-d982-468b-be47-641cf873d401" providerId="ADAL" clId="{F5E58D74-7948-4ADB-9542-6C85FE27686A}" dt="2021-10-19T15:19:01.099" v="1128" actId="478"/>
          <ac:spMkLst>
            <pc:docMk/>
            <pc:sldMk cId="2303678038" sldId="341"/>
            <ac:spMk id="20" creationId="{42B74696-EA11-4967-BB31-864A589DB0FB}"/>
          </ac:spMkLst>
        </pc:spChg>
        <pc:spChg chg="del">
          <ac:chgData name="Tan" userId="20e48cba-d982-468b-be47-641cf873d401" providerId="ADAL" clId="{F5E58D74-7948-4ADB-9542-6C85FE27686A}" dt="2021-10-19T15:19:01.099" v="1128" actId="478"/>
          <ac:spMkLst>
            <pc:docMk/>
            <pc:sldMk cId="2303678038" sldId="341"/>
            <ac:spMk id="21" creationId="{3A579730-4056-4C6F-B95D-1263B53CF714}"/>
          </ac:spMkLst>
        </pc:spChg>
        <pc:spChg chg="del">
          <ac:chgData name="Tan" userId="20e48cba-d982-468b-be47-641cf873d401" providerId="ADAL" clId="{F5E58D74-7948-4ADB-9542-6C85FE27686A}" dt="2021-10-19T15:19:01.099" v="1128" actId="478"/>
          <ac:spMkLst>
            <pc:docMk/>
            <pc:sldMk cId="2303678038" sldId="341"/>
            <ac:spMk id="22" creationId="{C02D202C-1240-41EC-B833-24DF9CB3F7CF}"/>
          </ac:spMkLst>
        </pc:spChg>
        <pc:spChg chg="add mod">
          <ac:chgData name="Tan" userId="20e48cba-d982-468b-be47-641cf873d401" providerId="ADAL" clId="{F5E58D74-7948-4ADB-9542-6C85FE27686A}" dt="2021-10-19T15:19:20.369" v="1131"/>
          <ac:spMkLst>
            <pc:docMk/>
            <pc:sldMk cId="2303678038" sldId="341"/>
            <ac:spMk id="26" creationId="{12BF568A-9B60-4B23-B0D3-9B475A9F5540}"/>
          </ac:spMkLst>
        </pc:spChg>
        <pc:picChg chg="del">
          <ac:chgData name="Tan" userId="20e48cba-d982-468b-be47-641cf873d401" providerId="ADAL" clId="{F5E58D74-7948-4ADB-9542-6C85FE27686A}" dt="2021-10-19T15:19:01.099" v="1128" actId="478"/>
          <ac:picMkLst>
            <pc:docMk/>
            <pc:sldMk cId="2303678038" sldId="341"/>
            <ac:picMk id="25" creationId="{5AC678EE-B413-42D8-AC56-22CDFFD51D5E}"/>
          </ac:picMkLst>
        </pc:picChg>
        <pc:picChg chg="add mod">
          <ac:chgData name="Tan" userId="20e48cba-d982-468b-be47-641cf873d401" providerId="ADAL" clId="{F5E58D74-7948-4ADB-9542-6C85FE27686A}" dt="2021-10-19T15:19:20.369" v="1131"/>
          <ac:picMkLst>
            <pc:docMk/>
            <pc:sldMk cId="2303678038" sldId="341"/>
            <ac:picMk id="28" creationId="{078C788C-1476-4703-9295-60C58FC63CFD}"/>
          </ac:picMkLst>
        </pc:picChg>
        <pc:cxnChg chg="del">
          <ac:chgData name="Tan" userId="20e48cba-d982-468b-be47-641cf873d401" providerId="ADAL" clId="{F5E58D74-7948-4ADB-9542-6C85FE27686A}" dt="2021-10-19T15:19:01.099" v="1128" actId="478"/>
          <ac:cxnSpMkLst>
            <pc:docMk/>
            <pc:sldMk cId="2303678038" sldId="341"/>
            <ac:cxnSpMk id="23" creationId="{814AC546-7B83-4C93-9244-F871604CAD10}"/>
          </ac:cxnSpMkLst>
        </pc:cxnChg>
        <pc:cxnChg chg="del">
          <ac:chgData name="Tan" userId="20e48cba-d982-468b-be47-641cf873d401" providerId="ADAL" clId="{F5E58D74-7948-4ADB-9542-6C85FE27686A}" dt="2021-10-19T15:19:01.099" v="1128" actId="478"/>
          <ac:cxnSpMkLst>
            <pc:docMk/>
            <pc:sldMk cId="2303678038" sldId="341"/>
            <ac:cxnSpMk id="24" creationId="{B036D71E-BD13-45B7-A312-F825ABA7E66F}"/>
          </ac:cxnSpMkLst>
        </pc:cxnChg>
        <pc:cxnChg chg="add mod">
          <ac:chgData name="Tan" userId="20e48cba-d982-468b-be47-641cf873d401" providerId="ADAL" clId="{F5E58D74-7948-4ADB-9542-6C85FE27686A}" dt="2021-10-19T15:19:20.369" v="1131"/>
          <ac:cxnSpMkLst>
            <pc:docMk/>
            <pc:sldMk cId="2303678038" sldId="341"/>
            <ac:cxnSpMk id="27" creationId="{8DAB70D2-852B-47A3-A4AA-E3F365B854C3}"/>
          </ac:cxnSpMkLst>
        </pc:cxnChg>
        <pc:cxnChg chg="add mod">
          <ac:chgData name="Tan" userId="20e48cba-d982-468b-be47-641cf873d401" providerId="ADAL" clId="{F5E58D74-7948-4ADB-9542-6C85FE27686A}" dt="2021-10-19T15:19:20.369" v="1131"/>
          <ac:cxnSpMkLst>
            <pc:docMk/>
            <pc:sldMk cId="2303678038" sldId="341"/>
            <ac:cxnSpMk id="29" creationId="{16BA7CBC-DE60-4936-B5E4-018A72E361FD}"/>
          </ac:cxnSpMkLst>
        </pc:cxnChg>
      </pc:sldChg>
      <pc:sldChg chg="addSp delSp modSp add mod">
        <pc:chgData name="Tan" userId="20e48cba-d982-468b-be47-641cf873d401" providerId="ADAL" clId="{F5E58D74-7948-4ADB-9542-6C85FE27686A}" dt="2021-10-19T15:19:49.339" v="1137"/>
        <pc:sldMkLst>
          <pc:docMk/>
          <pc:sldMk cId="1143917525" sldId="342"/>
        </pc:sldMkLst>
        <pc:spChg chg="del">
          <ac:chgData name="Tan" userId="20e48cba-d982-468b-be47-641cf873d401" providerId="ADAL" clId="{F5E58D74-7948-4ADB-9542-6C85FE27686A}" dt="2021-10-19T15:19:38.700" v="1136" actId="478"/>
          <ac:spMkLst>
            <pc:docMk/>
            <pc:sldMk cId="1143917525" sldId="342"/>
            <ac:spMk id="11" creationId="{5C66E887-3C9A-49ED-A9B7-634F96891EDC}"/>
          </ac:spMkLst>
        </pc:spChg>
        <pc:spChg chg="add mod">
          <ac:chgData name="Tan" userId="20e48cba-d982-468b-be47-641cf873d401" providerId="ADAL" clId="{F5E58D74-7948-4ADB-9542-6C85FE27686A}" dt="2021-10-19T15:19:49.339" v="1137"/>
          <ac:spMkLst>
            <pc:docMk/>
            <pc:sldMk cId="1143917525" sldId="342"/>
            <ac:spMk id="12" creationId="{6E1ED89E-07ED-4FEC-A583-48A0A8CD37CE}"/>
          </ac:spMkLst>
        </pc:spChg>
        <pc:spChg chg="add mod">
          <ac:chgData name="Tan" userId="20e48cba-d982-468b-be47-641cf873d401" providerId="ADAL" clId="{F5E58D74-7948-4ADB-9542-6C85FE27686A}" dt="2021-10-19T15:19:49.339" v="1137"/>
          <ac:spMkLst>
            <pc:docMk/>
            <pc:sldMk cId="1143917525" sldId="342"/>
            <ac:spMk id="13" creationId="{CD12F295-986B-49B3-B714-7B35CD80CF04}"/>
          </ac:spMkLst>
        </pc:spChg>
        <pc:spChg chg="add mod">
          <ac:chgData name="Tan" userId="20e48cba-d982-468b-be47-641cf873d401" providerId="ADAL" clId="{F5E58D74-7948-4ADB-9542-6C85FE27686A}" dt="2021-10-19T15:19:49.339" v="1137"/>
          <ac:spMkLst>
            <pc:docMk/>
            <pc:sldMk cId="1143917525" sldId="342"/>
            <ac:spMk id="14" creationId="{31744EF3-C828-48AA-BBF7-92432F99DAD3}"/>
          </ac:spMkLst>
        </pc:spChg>
        <pc:spChg chg="del">
          <ac:chgData name="Tan" userId="20e48cba-d982-468b-be47-641cf873d401" providerId="ADAL" clId="{F5E58D74-7948-4ADB-9542-6C85FE27686A}" dt="2021-10-19T15:19:38.700" v="1136" actId="478"/>
          <ac:spMkLst>
            <pc:docMk/>
            <pc:sldMk cId="1143917525" sldId="342"/>
            <ac:spMk id="15" creationId="{450A45BE-C8DA-42C8-BA87-2542009EEE7C}"/>
          </ac:spMkLst>
        </pc:spChg>
        <pc:spChg chg="add mod">
          <ac:chgData name="Tan" userId="20e48cba-d982-468b-be47-641cf873d401" providerId="ADAL" clId="{F5E58D74-7948-4ADB-9542-6C85FE27686A}" dt="2021-10-19T15:19:49.339" v="1137"/>
          <ac:spMkLst>
            <pc:docMk/>
            <pc:sldMk cId="1143917525" sldId="342"/>
            <ac:spMk id="16" creationId="{05D73FA5-9537-4039-87BF-C409ECD6749A}"/>
          </ac:spMkLst>
        </pc:spChg>
        <pc:spChg chg="add mod">
          <ac:chgData name="Tan" userId="20e48cba-d982-468b-be47-641cf873d401" providerId="ADAL" clId="{F5E58D74-7948-4ADB-9542-6C85FE27686A}" dt="2021-10-19T15:19:49.339" v="1137"/>
          <ac:spMkLst>
            <pc:docMk/>
            <pc:sldMk cId="1143917525" sldId="342"/>
            <ac:spMk id="17" creationId="{0C56489D-010C-45A9-A770-61A32601ADFB}"/>
          </ac:spMkLst>
        </pc:spChg>
        <pc:spChg chg="del">
          <ac:chgData name="Tan" userId="20e48cba-d982-468b-be47-641cf873d401" providerId="ADAL" clId="{F5E58D74-7948-4ADB-9542-6C85FE27686A}" dt="2021-10-19T15:19:38.700" v="1136" actId="478"/>
          <ac:spMkLst>
            <pc:docMk/>
            <pc:sldMk cId="1143917525" sldId="342"/>
            <ac:spMk id="18" creationId="{907AA1F2-AEBF-4BD5-8F43-2AB381303E80}"/>
          </ac:spMkLst>
        </pc:spChg>
        <pc:spChg chg="del">
          <ac:chgData name="Tan" userId="20e48cba-d982-468b-be47-641cf873d401" providerId="ADAL" clId="{F5E58D74-7948-4ADB-9542-6C85FE27686A}" dt="2021-10-19T15:19:38.700" v="1136" actId="478"/>
          <ac:spMkLst>
            <pc:docMk/>
            <pc:sldMk cId="1143917525" sldId="342"/>
            <ac:spMk id="19" creationId="{49C595AA-51F6-4E9C-A5FB-C02222300DCF}"/>
          </ac:spMkLst>
        </pc:spChg>
        <pc:spChg chg="del">
          <ac:chgData name="Tan" userId="20e48cba-d982-468b-be47-641cf873d401" providerId="ADAL" clId="{F5E58D74-7948-4ADB-9542-6C85FE27686A}" dt="2021-10-19T15:19:38.700" v="1136" actId="478"/>
          <ac:spMkLst>
            <pc:docMk/>
            <pc:sldMk cId="1143917525" sldId="342"/>
            <ac:spMk id="20" creationId="{42B74696-EA11-4967-BB31-864A589DB0FB}"/>
          </ac:spMkLst>
        </pc:spChg>
        <pc:spChg chg="del">
          <ac:chgData name="Tan" userId="20e48cba-d982-468b-be47-641cf873d401" providerId="ADAL" clId="{F5E58D74-7948-4ADB-9542-6C85FE27686A}" dt="2021-10-19T15:19:38.700" v="1136" actId="478"/>
          <ac:spMkLst>
            <pc:docMk/>
            <pc:sldMk cId="1143917525" sldId="342"/>
            <ac:spMk id="21" creationId="{3A579730-4056-4C6F-B95D-1263B53CF714}"/>
          </ac:spMkLst>
        </pc:spChg>
        <pc:spChg chg="del mod">
          <ac:chgData name="Tan" userId="20e48cba-d982-468b-be47-641cf873d401" providerId="ADAL" clId="{F5E58D74-7948-4ADB-9542-6C85FE27686A}" dt="2021-10-19T15:19:35.050" v="1135" actId="478"/>
          <ac:spMkLst>
            <pc:docMk/>
            <pc:sldMk cId="1143917525" sldId="342"/>
            <ac:spMk id="22" creationId="{C02D202C-1240-41EC-B833-24DF9CB3F7CF}"/>
          </ac:spMkLst>
        </pc:spChg>
        <pc:picChg chg="del">
          <ac:chgData name="Tan" userId="20e48cba-d982-468b-be47-641cf873d401" providerId="ADAL" clId="{F5E58D74-7948-4ADB-9542-6C85FE27686A}" dt="2021-10-19T15:19:38.700" v="1136" actId="478"/>
          <ac:picMkLst>
            <pc:docMk/>
            <pc:sldMk cId="1143917525" sldId="342"/>
            <ac:picMk id="25" creationId="{5AC678EE-B413-42D8-AC56-22CDFFD51D5E}"/>
          </ac:picMkLst>
        </pc:picChg>
        <pc:picChg chg="add mod">
          <ac:chgData name="Tan" userId="20e48cba-d982-468b-be47-641cf873d401" providerId="ADAL" clId="{F5E58D74-7948-4ADB-9542-6C85FE27686A}" dt="2021-10-19T15:19:49.339" v="1137"/>
          <ac:picMkLst>
            <pc:docMk/>
            <pc:sldMk cId="1143917525" sldId="342"/>
            <ac:picMk id="27" creationId="{3612C608-DAAE-47DE-BABB-CAD49B64CA05}"/>
          </ac:picMkLst>
        </pc:picChg>
        <pc:cxnChg chg="del">
          <ac:chgData name="Tan" userId="20e48cba-d982-468b-be47-641cf873d401" providerId="ADAL" clId="{F5E58D74-7948-4ADB-9542-6C85FE27686A}" dt="2021-10-19T15:19:38.700" v="1136" actId="478"/>
          <ac:cxnSpMkLst>
            <pc:docMk/>
            <pc:sldMk cId="1143917525" sldId="342"/>
            <ac:cxnSpMk id="23" creationId="{814AC546-7B83-4C93-9244-F871604CAD10}"/>
          </ac:cxnSpMkLst>
        </pc:cxnChg>
        <pc:cxnChg chg="del">
          <ac:chgData name="Tan" userId="20e48cba-d982-468b-be47-641cf873d401" providerId="ADAL" clId="{F5E58D74-7948-4ADB-9542-6C85FE27686A}" dt="2021-10-19T15:19:38.700" v="1136" actId="478"/>
          <ac:cxnSpMkLst>
            <pc:docMk/>
            <pc:sldMk cId="1143917525" sldId="342"/>
            <ac:cxnSpMk id="24" creationId="{B036D71E-BD13-45B7-A312-F825ABA7E66F}"/>
          </ac:cxnSpMkLst>
        </pc:cxnChg>
        <pc:cxnChg chg="add mod">
          <ac:chgData name="Tan" userId="20e48cba-d982-468b-be47-641cf873d401" providerId="ADAL" clId="{F5E58D74-7948-4ADB-9542-6C85FE27686A}" dt="2021-10-19T15:19:49.339" v="1137"/>
          <ac:cxnSpMkLst>
            <pc:docMk/>
            <pc:sldMk cId="1143917525" sldId="342"/>
            <ac:cxnSpMk id="26" creationId="{9BD15C87-E2E8-4EB7-88BC-CE52C784C78C}"/>
          </ac:cxnSpMkLst>
        </pc:cxnChg>
        <pc:cxnChg chg="add mod">
          <ac:chgData name="Tan" userId="20e48cba-d982-468b-be47-641cf873d401" providerId="ADAL" clId="{F5E58D74-7948-4ADB-9542-6C85FE27686A}" dt="2021-10-19T15:19:49.339" v="1137"/>
          <ac:cxnSpMkLst>
            <pc:docMk/>
            <pc:sldMk cId="1143917525" sldId="342"/>
            <ac:cxnSpMk id="28" creationId="{87CD1A63-A10A-4452-9114-69824E97D735}"/>
          </ac:cxnSpMkLst>
        </pc:cxnChg>
      </pc:sldChg>
      <pc:sldChg chg="addSp delSp modSp add mod">
        <pc:chgData name="Tan" userId="20e48cba-d982-468b-be47-641cf873d401" providerId="ADAL" clId="{F5E58D74-7948-4ADB-9542-6C85FE27686A}" dt="2021-10-19T15:24:42.160" v="1189" actId="20577"/>
        <pc:sldMkLst>
          <pc:docMk/>
          <pc:sldMk cId="517890207" sldId="343"/>
        </pc:sldMkLst>
        <pc:spChg chg="del">
          <ac:chgData name="Tan" userId="20e48cba-d982-468b-be47-641cf873d401" providerId="ADAL" clId="{F5E58D74-7948-4ADB-9542-6C85FE27686A}" dt="2021-10-19T15:20:42.627" v="1140" actId="478"/>
          <ac:spMkLst>
            <pc:docMk/>
            <pc:sldMk cId="517890207" sldId="343"/>
            <ac:spMk id="2" creationId="{286A8A93-DC43-4256-9809-B9D2000497A4}"/>
          </ac:spMkLst>
        </pc:spChg>
        <pc:spChg chg="del">
          <ac:chgData name="Tan" userId="20e48cba-d982-468b-be47-641cf873d401" providerId="ADAL" clId="{F5E58D74-7948-4ADB-9542-6C85FE27686A}" dt="2021-10-19T15:20:42.627" v="1140" actId="478"/>
          <ac:spMkLst>
            <pc:docMk/>
            <pc:sldMk cId="517890207" sldId="343"/>
            <ac:spMk id="12" creationId="{6E1ED89E-07ED-4FEC-A583-48A0A8CD37CE}"/>
          </ac:spMkLst>
        </pc:spChg>
        <pc:spChg chg="del">
          <ac:chgData name="Tan" userId="20e48cba-d982-468b-be47-641cf873d401" providerId="ADAL" clId="{F5E58D74-7948-4ADB-9542-6C85FE27686A}" dt="2021-10-19T15:20:42.627" v="1140" actId="478"/>
          <ac:spMkLst>
            <pc:docMk/>
            <pc:sldMk cId="517890207" sldId="343"/>
            <ac:spMk id="13" creationId="{CD12F295-986B-49B3-B714-7B35CD80CF04}"/>
          </ac:spMkLst>
        </pc:spChg>
        <pc:spChg chg="del">
          <ac:chgData name="Tan" userId="20e48cba-d982-468b-be47-641cf873d401" providerId="ADAL" clId="{F5E58D74-7948-4ADB-9542-6C85FE27686A}" dt="2021-10-19T15:20:42.627" v="1140" actId="478"/>
          <ac:spMkLst>
            <pc:docMk/>
            <pc:sldMk cId="517890207" sldId="343"/>
            <ac:spMk id="14" creationId="{31744EF3-C828-48AA-BBF7-92432F99DAD3}"/>
          </ac:spMkLst>
        </pc:spChg>
        <pc:spChg chg="mod">
          <ac:chgData name="Tan" userId="20e48cba-d982-468b-be47-641cf873d401" providerId="ADAL" clId="{F5E58D74-7948-4ADB-9542-6C85FE27686A}" dt="2021-10-19T15:20:50.366" v="1141"/>
          <ac:spMkLst>
            <pc:docMk/>
            <pc:sldMk cId="517890207" sldId="343"/>
            <ac:spMk id="15" creationId="{18F66560-9063-4957-9DE3-E5253AD7D37C}"/>
          </ac:spMkLst>
        </pc:spChg>
        <pc:spChg chg="del">
          <ac:chgData name="Tan" userId="20e48cba-d982-468b-be47-641cf873d401" providerId="ADAL" clId="{F5E58D74-7948-4ADB-9542-6C85FE27686A}" dt="2021-10-19T15:20:42.627" v="1140" actId="478"/>
          <ac:spMkLst>
            <pc:docMk/>
            <pc:sldMk cId="517890207" sldId="343"/>
            <ac:spMk id="16" creationId="{05D73FA5-9537-4039-87BF-C409ECD6749A}"/>
          </ac:spMkLst>
        </pc:spChg>
        <pc:spChg chg="del">
          <ac:chgData name="Tan" userId="20e48cba-d982-468b-be47-641cf873d401" providerId="ADAL" clId="{F5E58D74-7948-4ADB-9542-6C85FE27686A}" dt="2021-10-19T15:20:42.627" v="1140" actId="478"/>
          <ac:spMkLst>
            <pc:docMk/>
            <pc:sldMk cId="517890207" sldId="343"/>
            <ac:spMk id="17" creationId="{0C56489D-010C-45A9-A770-61A32601ADFB}"/>
          </ac:spMkLst>
        </pc:spChg>
        <pc:spChg chg="mod">
          <ac:chgData name="Tan" userId="20e48cba-d982-468b-be47-641cf873d401" providerId="ADAL" clId="{F5E58D74-7948-4ADB-9542-6C85FE27686A}" dt="2021-10-19T15:20:50.366" v="1141"/>
          <ac:spMkLst>
            <pc:docMk/>
            <pc:sldMk cId="517890207" sldId="343"/>
            <ac:spMk id="18" creationId="{AE6EA38A-47BD-4DE8-96C6-A86930FAFE3E}"/>
          </ac:spMkLst>
        </pc:spChg>
        <pc:spChg chg="mod">
          <ac:chgData name="Tan" userId="20e48cba-d982-468b-be47-641cf873d401" providerId="ADAL" clId="{F5E58D74-7948-4ADB-9542-6C85FE27686A}" dt="2021-10-19T15:20:50.366" v="1141"/>
          <ac:spMkLst>
            <pc:docMk/>
            <pc:sldMk cId="517890207" sldId="343"/>
            <ac:spMk id="19" creationId="{1AA869EE-7391-4E6F-92B5-624F590D6E1C}"/>
          </ac:spMkLst>
        </pc:spChg>
        <pc:spChg chg="mod">
          <ac:chgData name="Tan" userId="20e48cba-d982-468b-be47-641cf873d401" providerId="ADAL" clId="{F5E58D74-7948-4ADB-9542-6C85FE27686A}" dt="2021-10-19T15:20:50.366" v="1141"/>
          <ac:spMkLst>
            <pc:docMk/>
            <pc:sldMk cId="517890207" sldId="343"/>
            <ac:spMk id="21" creationId="{91296CA5-BA80-4BD3-A22D-E0FC332FEA61}"/>
          </ac:spMkLst>
        </pc:spChg>
        <pc:spChg chg="mod">
          <ac:chgData name="Tan" userId="20e48cba-d982-468b-be47-641cf873d401" providerId="ADAL" clId="{F5E58D74-7948-4ADB-9542-6C85FE27686A}" dt="2021-10-19T15:20:50.366" v="1141"/>
          <ac:spMkLst>
            <pc:docMk/>
            <pc:sldMk cId="517890207" sldId="343"/>
            <ac:spMk id="22" creationId="{458E84BE-39C2-4287-B056-DCC3EBB89193}"/>
          </ac:spMkLst>
        </pc:spChg>
        <pc:spChg chg="mod">
          <ac:chgData name="Tan" userId="20e48cba-d982-468b-be47-641cf873d401" providerId="ADAL" clId="{F5E58D74-7948-4ADB-9542-6C85FE27686A}" dt="2021-10-19T15:20:50.366" v="1141"/>
          <ac:spMkLst>
            <pc:docMk/>
            <pc:sldMk cId="517890207" sldId="343"/>
            <ac:spMk id="23" creationId="{2FD2E17D-C3FA-43F9-A9EE-8A4176C12462}"/>
          </ac:spMkLst>
        </pc:spChg>
        <pc:spChg chg="mod">
          <ac:chgData name="Tan" userId="20e48cba-d982-468b-be47-641cf873d401" providerId="ADAL" clId="{F5E58D74-7948-4ADB-9542-6C85FE27686A}" dt="2021-10-19T15:20:50.366" v="1141"/>
          <ac:spMkLst>
            <pc:docMk/>
            <pc:sldMk cId="517890207" sldId="343"/>
            <ac:spMk id="25" creationId="{5BF1A9C5-2604-4BE7-B169-7B909437462F}"/>
          </ac:spMkLst>
        </pc:spChg>
        <pc:spChg chg="mod">
          <ac:chgData name="Tan" userId="20e48cba-d982-468b-be47-641cf873d401" providerId="ADAL" clId="{F5E58D74-7948-4ADB-9542-6C85FE27686A}" dt="2021-10-19T15:20:50.366" v="1141"/>
          <ac:spMkLst>
            <pc:docMk/>
            <pc:sldMk cId="517890207" sldId="343"/>
            <ac:spMk id="29" creationId="{7085F4B5-43CA-44AB-9113-9541603FAA96}"/>
          </ac:spMkLst>
        </pc:spChg>
        <pc:spChg chg="mod">
          <ac:chgData name="Tan" userId="20e48cba-d982-468b-be47-641cf873d401" providerId="ADAL" clId="{F5E58D74-7948-4ADB-9542-6C85FE27686A}" dt="2021-10-19T15:20:50.366" v="1141"/>
          <ac:spMkLst>
            <pc:docMk/>
            <pc:sldMk cId="517890207" sldId="343"/>
            <ac:spMk id="30" creationId="{7467CC25-EAA8-4CAD-9D3F-2E2CD113313A}"/>
          </ac:spMkLst>
        </pc:spChg>
        <pc:spChg chg="add mod">
          <ac:chgData name="Tan" userId="20e48cba-d982-468b-be47-641cf873d401" providerId="ADAL" clId="{F5E58D74-7948-4ADB-9542-6C85FE27686A}" dt="2021-10-19T15:20:50.366" v="1141"/>
          <ac:spMkLst>
            <pc:docMk/>
            <pc:sldMk cId="517890207" sldId="343"/>
            <ac:spMk id="31" creationId="{32789120-7169-4014-84BA-0B8B9B9AD150}"/>
          </ac:spMkLst>
        </pc:spChg>
        <pc:spChg chg="add mod">
          <ac:chgData name="Tan" userId="20e48cba-d982-468b-be47-641cf873d401" providerId="ADAL" clId="{F5E58D74-7948-4ADB-9542-6C85FE27686A}" dt="2021-10-19T15:24:42.160" v="1189" actId="20577"/>
          <ac:spMkLst>
            <pc:docMk/>
            <pc:sldMk cId="517890207" sldId="343"/>
            <ac:spMk id="32" creationId="{9DC353F4-62C9-4B05-8BB6-F239A0B7FD81}"/>
          </ac:spMkLst>
        </pc:spChg>
        <pc:grpChg chg="add mod">
          <ac:chgData name="Tan" userId="20e48cba-d982-468b-be47-641cf873d401" providerId="ADAL" clId="{F5E58D74-7948-4ADB-9542-6C85FE27686A}" dt="2021-10-19T15:20:50.366" v="1141"/>
          <ac:grpSpMkLst>
            <pc:docMk/>
            <pc:sldMk cId="517890207" sldId="343"/>
            <ac:grpSpMk id="11" creationId="{8A61AC6F-299E-4C26-AFDF-7A688544FB9C}"/>
          </ac:grpSpMkLst>
        </pc:grpChg>
        <pc:grpChg chg="add mod">
          <ac:chgData name="Tan" userId="20e48cba-d982-468b-be47-641cf873d401" providerId="ADAL" clId="{F5E58D74-7948-4ADB-9542-6C85FE27686A}" dt="2021-10-19T15:20:50.366" v="1141"/>
          <ac:grpSpMkLst>
            <pc:docMk/>
            <pc:sldMk cId="517890207" sldId="343"/>
            <ac:grpSpMk id="20" creationId="{4F4D05D0-9E8C-4AD6-86D2-D0EAFF52A5D4}"/>
          </ac:grpSpMkLst>
        </pc:grpChg>
        <pc:grpChg chg="add mod">
          <ac:chgData name="Tan" userId="20e48cba-d982-468b-be47-641cf873d401" providerId="ADAL" clId="{F5E58D74-7948-4ADB-9542-6C85FE27686A}" dt="2021-10-19T15:20:50.366" v="1141"/>
          <ac:grpSpMkLst>
            <pc:docMk/>
            <pc:sldMk cId="517890207" sldId="343"/>
            <ac:grpSpMk id="24" creationId="{AB398F85-3DB2-4D6D-A5E0-8EED0ECF5DAA}"/>
          </ac:grpSpMkLst>
        </pc:grpChg>
        <pc:picChg chg="del">
          <ac:chgData name="Tan" userId="20e48cba-d982-468b-be47-641cf873d401" providerId="ADAL" clId="{F5E58D74-7948-4ADB-9542-6C85FE27686A}" dt="2021-10-19T15:20:42.627" v="1140" actId="478"/>
          <ac:picMkLst>
            <pc:docMk/>
            <pc:sldMk cId="517890207" sldId="343"/>
            <ac:picMk id="27" creationId="{3612C608-DAAE-47DE-BABB-CAD49B64CA05}"/>
          </ac:picMkLst>
        </pc:picChg>
        <pc:cxnChg chg="del">
          <ac:chgData name="Tan" userId="20e48cba-d982-468b-be47-641cf873d401" providerId="ADAL" clId="{F5E58D74-7948-4ADB-9542-6C85FE27686A}" dt="2021-10-19T15:20:42.627" v="1140" actId="478"/>
          <ac:cxnSpMkLst>
            <pc:docMk/>
            <pc:sldMk cId="517890207" sldId="343"/>
            <ac:cxnSpMk id="26" creationId="{9BD15C87-E2E8-4EB7-88BC-CE52C784C78C}"/>
          </ac:cxnSpMkLst>
        </pc:cxnChg>
        <pc:cxnChg chg="del">
          <ac:chgData name="Tan" userId="20e48cba-d982-468b-be47-641cf873d401" providerId="ADAL" clId="{F5E58D74-7948-4ADB-9542-6C85FE27686A}" dt="2021-10-19T15:20:42.627" v="1140" actId="478"/>
          <ac:cxnSpMkLst>
            <pc:docMk/>
            <pc:sldMk cId="517890207" sldId="343"/>
            <ac:cxnSpMk id="28" creationId="{87CD1A63-A10A-4452-9114-69824E97D735}"/>
          </ac:cxnSpMkLst>
        </pc:cxnChg>
      </pc:sldChg>
      <pc:sldChg chg="addSp delSp modSp add mod">
        <pc:chgData name="Tan" userId="20e48cba-d982-468b-be47-641cf873d401" providerId="ADAL" clId="{F5E58D74-7948-4ADB-9542-6C85FE27686A}" dt="2021-10-19T15:24:26.626" v="1184" actId="20577"/>
        <pc:sldMkLst>
          <pc:docMk/>
          <pc:sldMk cId="217499512" sldId="344"/>
        </pc:sldMkLst>
        <pc:spChg chg="del">
          <ac:chgData name="Tan" userId="20e48cba-d982-468b-be47-641cf873d401" providerId="ADAL" clId="{F5E58D74-7948-4ADB-9542-6C85FE27686A}" dt="2021-10-19T15:21:26.682" v="1144" actId="478"/>
          <ac:spMkLst>
            <pc:docMk/>
            <pc:sldMk cId="217499512" sldId="344"/>
            <ac:spMk id="3" creationId="{9C8328E2-901C-4C12-A542-593E309E8355}"/>
          </ac:spMkLst>
        </pc:spChg>
        <pc:spChg chg="mod">
          <ac:chgData name="Tan" userId="20e48cba-d982-468b-be47-641cf873d401" providerId="ADAL" clId="{F5E58D74-7948-4ADB-9542-6C85FE27686A}" dt="2021-10-19T15:21:34.326" v="1145"/>
          <ac:spMkLst>
            <pc:docMk/>
            <pc:sldMk cId="217499512" sldId="344"/>
            <ac:spMk id="26" creationId="{2771E074-21E7-463E-8A71-2B49605CF04F}"/>
          </ac:spMkLst>
        </pc:spChg>
        <pc:spChg chg="mod">
          <ac:chgData name="Tan" userId="20e48cba-d982-468b-be47-641cf873d401" providerId="ADAL" clId="{F5E58D74-7948-4ADB-9542-6C85FE27686A}" dt="2021-10-19T15:21:34.326" v="1145"/>
          <ac:spMkLst>
            <pc:docMk/>
            <pc:sldMk cId="217499512" sldId="344"/>
            <ac:spMk id="27" creationId="{D8347513-A5B4-4702-A29B-02400BEED4FF}"/>
          </ac:spMkLst>
        </pc:spChg>
        <pc:spChg chg="mod">
          <ac:chgData name="Tan" userId="20e48cba-d982-468b-be47-641cf873d401" providerId="ADAL" clId="{F5E58D74-7948-4ADB-9542-6C85FE27686A}" dt="2021-10-19T15:21:34.326" v="1145"/>
          <ac:spMkLst>
            <pc:docMk/>
            <pc:sldMk cId="217499512" sldId="344"/>
            <ac:spMk id="28" creationId="{229C84F1-4BA3-4AF6-B4EA-DB7C44306528}"/>
          </ac:spMkLst>
        </pc:spChg>
        <pc:spChg chg="del">
          <ac:chgData name="Tan" userId="20e48cba-d982-468b-be47-641cf873d401" providerId="ADAL" clId="{F5E58D74-7948-4ADB-9542-6C85FE27686A}" dt="2021-10-19T15:21:26.682" v="1144" actId="478"/>
          <ac:spMkLst>
            <pc:docMk/>
            <pc:sldMk cId="217499512" sldId="344"/>
            <ac:spMk id="31" creationId="{32789120-7169-4014-84BA-0B8B9B9AD150}"/>
          </ac:spMkLst>
        </pc:spChg>
        <pc:spChg chg="del">
          <ac:chgData name="Tan" userId="20e48cba-d982-468b-be47-641cf873d401" providerId="ADAL" clId="{F5E58D74-7948-4ADB-9542-6C85FE27686A}" dt="2021-10-19T15:21:26.682" v="1144" actId="478"/>
          <ac:spMkLst>
            <pc:docMk/>
            <pc:sldMk cId="217499512" sldId="344"/>
            <ac:spMk id="32" creationId="{9DC353F4-62C9-4B05-8BB6-F239A0B7FD81}"/>
          </ac:spMkLst>
        </pc:spChg>
        <pc:spChg chg="mod">
          <ac:chgData name="Tan" userId="20e48cba-d982-468b-be47-641cf873d401" providerId="ADAL" clId="{F5E58D74-7948-4ADB-9542-6C85FE27686A}" dt="2021-10-19T15:21:34.326" v="1145"/>
          <ac:spMkLst>
            <pc:docMk/>
            <pc:sldMk cId="217499512" sldId="344"/>
            <ac:spMk id="34" creationId="{657BF9F5-9031-48D8-9838-145EBA323B47}"/>
          </ac:spMkLst>
        </pc:spChg>
        <pc:spChg chg="mod">
          <ac:chgData name="Tan" userId="20e48cba-d982-468b-be47-641cf873d401" providerId="ADAL" clId="{F5E58D74-7948-4ADB-9542-6C85FE27686A}" dt="2021-10-19T15:21:34.326" v="1145"/>
          <ac:spMkLst>
            <pc:docMk/>
            <pc:sldMk cId="217499512" sldId="344"/>
            <ac:spMk id="35" creationId="{B8D8B68E-76F8-44F3-9285-5000B68FA1F9}"/>
          </ac:spMkLst>
        </pc:spChg>
        <pc:spChg chg="mod">
          <ac:chgData name="Tan" userId="20e48cba-d982-468b-be47-641cf873d401" providerId="ADAL" clId="{F5E58D74-7948-4ADB-9542-6C85FE27686A}" dt="2021-10-19T15:21:34.326" v="1145"/>
          <ac:spMkLst>
            <pc:docMk/>
            <pc:sldMk cId="217499512" sldId="344"/>
            <ac:spMk id="36" creationId="{BF29094A-BDA0-4DF6-A651-47A82CE43703}"/>
          </ac:spMkLst>
        </pc:spChg>
        <pc:spChg chg="mod">
          <ac:chgData name="Tan" userId="20e48cba-d982-468b-be47-641cf873d401" providerId="ADAL" clId="{F5E58D74-7948-4ADB-9542-6C85FE27686A}" dt="2021-10-19T15:21:34.326" v="1145"/>
          <ac:spMkLst>
            <pc:docMk/>
            <pc:sldMk cId="217499512" sldId="344"/>
            <ac:spMk id="38" creationId="{BA3B6128-34DB-448D-9C3D-D7230AFC16B8}"/>
          </ac:spMkLst>
        </pc:spChg>
        <pc:spChg chg="mod">
          <ac:chgData name="Tan" userId="20e48cba-d982-468b-be47-641cf873d401" providerId="ADAL" clId="{F5E58D74-7948-4ADB-9542-6C85FE27686A}" dt="2021-10-19T15:21:34.326" v="1145"/>
          <ac:spMkLst>
            <pc:docMk/>
            <pc:sldMk cId="217499512" sldId="344"/>
            <ac:spMk id="39" creationId="{30CBC354-CE7C-4F4E-A16C-C59DC1F09E91}"/>
          </ac:spMkLst>
        </pc:spChg>
        <pc:spChg chg="mod">
          <ac:chgData name="Tan" userId="20e48cba-d982-468b-be47-641cf873d401" providerId="ADAL" clId="{F5E58D74-7948-4ADB-9542-6C85FE27686A}" dt="2021-10-19T15:21:34.326" v="1145"/>
          <ac:spMkLst>
            <pc:docMk/>
            <pc:sldMk cId="217499512" sldId="344"/>
            <ac:spMk id="40" creationId="{FE4B1EAE-DB25-44EC-AFB5-E2AC054AD1A4}"/>
          </ac:spMkLst>
        </pc:spChg>
        <pc:spChg chg="add mod">
          <ac:chgData name="Tan" userId="20e48cba-d982-468b-be47-641cf873d401" providerId="ADAL" clId="{F5E58D74-7948-4ADB-9542-6C85FE27686A}" dt="2021-10-19T15:21:34.326" v="1145"/>
          <ac:spMkLst>
            <pc:docMk/>
            <pc:sldMk cId="217499512" sldId="344"/>
            <ac:spMk id="41" creationId="{53CEC049-EEA8-46CD-854A-070A4C963327}"/>
          </ac:spMkLst>
        </pc:spChg>
        <pc:spChg chg="add mod">
          <ac:chgData name="Tan" userId="20e48cba-d982-468b-be47-641cf873d401" providerId="ADAL" clId="{F5E58D74-7948-4ADB-9542-6C85FE27686A}" dt="2021-10-19T15:24:26.626" v="1184" actId="20577"/>
          <ac:spMkLst>
            <pc:docMk/>
            <pc:sldMk cId="217499512" sldId="344"/>
            <ac:spMk id="42" creationId="{9D5FC891-34FE-4EA0-9C31-D285D8AB442C}"/>
          </ac:spMkLst>
        </pc:spChg>
        <pc:grpChg chg="del">
          <ac:chgData name="Tan" userId="20e48cba-d982-468b-be47-641cf873d401" providerId="ADAL" clId="{F5E58D74-7948-4ADB-9542-6C85FE27686A}" dt="2021-10-19T15:21:26.682" v="1144" actId="478"/>
          <ac:grpSpMkLst>
            <pc:docMk/>
            <pc:sldMk cId="217499512" sldId="344"/>
            <ac:grpSpMk id="11" creationId="{8A61AC6F-299E-4C26-AFDF-7A688544FB9C}"/>
          </ac:grpSpMkLst>
        </pc:grpChg>
        <pc:grpChg chg="add mod">
          <ac:chgData name="Tan" userId="20e48cba-d982-468b-be47-641cf873d401" providerId="ADAL" clId="{F5E58D74-7948-4ADB-9542-6C85FE27686A}" dt="2021-10-19T15:21:34.326" v="1145"/>
          <ac:grpSpMkLst>
            <pc:docMk/>
            <pc:sldMk cId="217499512" sldId="344"/>
            <ac:grpSpMk id="17" creationId="{FDEBFA9C-382D-4451-953D-299183196481}"/>
          </ac:grpSpMkLst>
        </pc:grpChg>
        <pc:grpChg chg="del">
          <ac:chgData name="Tan" userId="20e48cba-d982-468b-be47-641cf873d401" providerId="ADAL" clId="{F5E58D74-7948-4ADB-9542-6C85FE27686A}" dt="2021-10-19T15:21:26.682" v="1144" actId="478"/>
          <ac:grpSpMkLst>
            <pc:docMk/>
            <pc:sldMk cId="217499512" sldId="344"/>
            <ac:grpSpMk id="20" creationId="{4F4D05D0-9E8C-4AD6-86D2-D0EAFF52A5D4}"/>
          </ac:grpSpMkLst>
        </pc:grpChg>
        <pc:grpChg chg="del">
          <ac:chgData name="Tan" userId="20e48cba-d982-468b-be47-641cf873d401" providerId="ADAL" clId="{F5E58D74-7948-4ADB-9542-6C85FE27686A}" dt="2021-10-19T15:21:26.682" v="1144" actId="478"/>
          <ac:grpSpMkLst>
            <pc:docMk/>
            <pc:sldMk cId="217499512" sldId="344"/>
            <ac:grpSpMk id="24" creationId="{AB398F85-3DB2-4D6D-A5E0-8EED0ECF5DAA}"/>
          </ac:grpSpMkLst>
        </pc:grpChg>
        <pc:grpChg chg="add mod">
          <ac:chgData name="Tan" userId="20e48cba-d982-468b-be47-641cf873d401" providerId="ADAL" clId="{F5E58D74-7948-4ADB-9542-6C85FE27686A}" dt="2021-10-19T15:21:34.326" v="1145"/>
          <ac:grpSpMkLst>
            <pc:docMk/>
            <pc:sldMk cId="217499512" sldId="344"/>
            <ac:grpSpMk id="33" creationId="{75607ECC-D92D-47D3-9196-3B490DE5A029}"/>
          </ac:grpSpMkLst>
        </pc:grpChg>
        <pc:grpChg chg="add mod">
          <ac:chgData name="Tan" userId="20e48cba-d982-468b-be47-641cf873d401" providerId="ADAL" clId="{F5E58D74-7948-4ADB-9542-6C85FE27686A}" dt="2021-10-19T15:21:34.326" v="1145"/>
          <ac:grpSpMkLst>
            <pc:docMk/>
            <pc:sldMk cId="217499512" sldId="344"/>
            <ac:grpSpMk id="37" creationId="{D9539805-E57C-48F6-92D4-549831A70B4E}"/>
          </ac:grpSpMkLst>
        </pc:grpChg>
      </pc:sldChg>
      <pc:sldChg chg="addSp delSp modSp add mod">
        <pc:chgData name="Tan" userId="20e48cba-d982-468b-be47-641cf873d401" providerId="ADAL" clId="{F5E58D74-7948-4ADB-9542-6C85FE27686A}" dt="2021-10-19T15:23:11.512" v="1151" actId="14100"/>
        <pc:sldMkLst>
          <pc:docMk/>
          <pc:sldMk cId="3648886001" sldId="345"/>
        </pc:sldMkLst>
        <pc:spChg chg="del">
          <ac:chgData name="Tan" userId="20e48cba-d982-468b-be47-641cf873d401" providerId="ADAL" clId="{F5E58D74-7948-4ADB-9542-6C85FE27686A}" dt="2021-10-19T15:22:36.290" v="1148" actId="478"/>
          <ac:spMkLst>
            <pc:docMk/>
            <pc:sldMk cId="3648886001" sldId="345"/>
            <ac:spMk id="4" creationId="{A9DB2B7F-1565-4E93-87C3-A836B9D724FD}"/>
          </ac:spMkLst>
        </pc:spChg>
        <pc:spChg chg="del">
          <ac:chgData name="Tan" userId="20e48cba-d982-468b-be47-641cf873d401" providerId="ADAL" clId="{F5E58D74-7948-4ADB-9542-6C85FE27686A}" dt="2021-10-19T15:22:36.290" v="1148" actId="478"/>
          <ac:spMkLst>
            <pc:docMk/>
            <pc:sldMk cId="3648886001" sldId="345"/>
            <ac:spMk id="10" creationId="{C202204B-BB53-4C9F-A311-2D2172695DF4}"/>
          </ac:spMkLst>
        </pc:spChg>
        <pc:spChg chg="add mod">
          <ac:chgData name="Tan" userId="20e48cba-d982-468b-be47-641cf873d401" providerId="ADAL" clId="{F5E58D74-7948-4ADB-9542-6C85FE27686A}" dt="2021-10-19T15:22:43.623" v="1149"/>
          <ac:spMkLst>
            <pc:docMk/>
            <pc:sldMk cId="3648886001" sldId="345"/>
            <ac:spMk id="13" creationId="{7400E012-90ED-48B6-9273-9B5D5F0B64C0}"/>
          </ac:spMkLst>
        </pc:spChg>
        <pc:spChg chg="del">
          <ac:chgData name="Tan" userId="20e48cba-d982-468b-be47-641cf873d401" providerId="ADAL" clId="{F5E58D74-7948-4ADB-9542-6C85FE27686A}" dt="2021-10-19T15:22:36.290" v="1148" actId="478"/>
          <ac:spMkLst>
            <pc:docMk/>
            <pc:sldMk cId="3648886001" sldId="345"/>
            <ac:spMk id="14" creationId="{8C4F134B-85CD-427D-AD2D-E75C532E35C7}"/>
          </ac:spMkLst>
        </pc:spChg>
        <pc:spChg chg="add mod">
          <ac:chgData name="Tan" userId="20e48cba-d982-468b-be47-641cf873d401" providerId="ADAL" clId="{F5E58D74-7948-4ADB-9542-6C85FE27686A}" dt="2021-10-19T15:22:43.623" v="1149"/>
          <ac:spMkLst>
            <pc:docMk/>
            <pc:sldMk cId="3648886001" sldId="345"/>
            <ac:spMk id="15" creationId="{BFA43FAA-BFC6-4B11-B8A6-0B0E37C99945}"/>
          </ac:spMkLst>
        </pc:spChg>
        <pc:spChg chg="del">
          <ac:chgData name="Tan" userId="20e48cba-d982-468b-be47-641cf873d401" providerId="ADAL" clId="{F5E58D74-7948-4ADB-9542-6C85FE27686A}" dt="2021-10-19T15:22:36.290" v="1148" actId="478"/>
          <ac:spMkLst>
            <pc:docMk/>
            <pc:sldMk cId="3648886001" sldId="345"/>
            <ac:spMk id="16" creationId="{A686A085-9F8A-4F3F-9CC2-6403AB494EA8}"/>
          </ac:spMkLst>
        </pc:spChg>
        <pc:spChg chg="del">
          <ac:chgData name="Tan" userId="20e48cba-d982-468b-be47-641cf873d401" providerId="ADAL" clId="{F5E58D74-7948-4ADB-9542-6C85FE27686A}" dt="2021-10-19T15:22:36.290" v="1148" actId="478"/>
          <ac:spMkLst>
            <pc:docMk/>
            <pc:sldMk cId="3648886001" sldId="345"/>
            <ac:spMk id="17" creationId="{76FF0807-2A15-46B2-8431-AF3AB38C4DFB}"/>
          </ac:spMkLst>
        </pc:spChg>
        <pc:graphicFrameChg chg="add mod modGraphic">
          <ac:chgData name="Tan" userId="20e48cba-d982-468b-be47-641cf873d401" providerId="ADAL" clId="{F5E58D74-7948-4ADB-9542-6C85FE27686A}" dt="2021-10-19T15:23:11.512" v="1151" actId="14100"/>
          <ac:graphicFrameMkLst>
            <pc:docMk/>
            <pc:sldMk cId="3648886001" sldId="345"/>
            <ac:graphicFrameMk id="12" creationId="{2018C1A4-704C-4C5F-8DFB-23B75E3C047E}"/>
          </ac:graphicFrameMkLst>
        </pc:graphicFrameChg>
        <pc:picChg chg="del">
          <ac:chgData name="Tan" userId="20e48cba-d982-468b-be47-641cf873d401" providerId="ADAL" clId="{F5E58D74-7948-4ADB-9542-6C85FE27686A}" dt="2021-10-19T15:22:36.290" v="1148" actId="478"/>
          <ac:picMkLst>
            <pc:docMk/>
            <pc:sldMk cId="3648886001" sldId="345"/>
            <ac:picMk id="5" creationId="{3E8B3783-FBFD-40CE-9FB8-781CACAD6FC1}"/>
          </ac:picMkLst>
        </pc:picChg>
        <pc:picChg chg="del">
          <ac:chgData name="Tan" userId="20e48cba-d982-468b-be47-641cf873d401" providerId="ADAL" clId="{F5E58D74-7948-4ADB-9542-6C85FE27686A}" dt="2021-10-19T15:22:36.290" v="1148" actId="478"/>
          <ac:picMkLst>
            <pc:docMk/>
            <pc:sldMk cId="3648886001" sldId="345"/>
            <ac:picMk id="6" creationId="{A0887C19-93C4-4981-9C4C-EFBC30CAFE8E}"/>
          </ac:picMkLst>
        </pc:picChg>
        <pc:picChg chg="del">
          <ac:chgData name="Tan" userId="20e48cba-d982-468b-be47-641cf873d401" providerId="ADAL" clId="{F5E58D74-7948-4ADB-9542-6C85FE27686A}" dt="2021-10-19T15:22:36.290" v="1148" actId="478"/>
          <ac:picMkLst>
            <pc:docMk/>
            <pc:sldMk cId="3648886001" sldId="345"/>
            <ac:picMk id="7" creationId="{682552CF-7E96-420E-8C71-62C3878B4904}"/>
          </ac:picMkLst>
        </pc:picChg>
        <pc:picChg chg="del">
          <ac:chgData name="Tan" userId="20e48cba-d982-468b-be47-641cf873d401" providerId="ADAL" clId="{F5E58D74-7948-4ADB-9542-6C85FE27686A}" dt="2021-10-19T15:22:36.290" v="1148" actId="478"/>
          <ac:picMkLst>
            <pc:docMk/>
            <pc:sldMk cId="3648886001" sldId="345"/>
            <ac:picMk id="8" creationId="{0BD3B605-F525-4060-BBD5-72F5DCE71140}"/>
          </ac:picMkLst>
        </pc:picChg>
        <pc:cxnChg chg="del">
          <ac:chgData name="Tan" userId="20e48cba-d982-468b-be47-641cf873d401" providerId="ADAL" clId="{F5E58D74-7948-4ADB-9542-6C85FE27686A}" dt="2021-10-19T15:22:36.290" v="1148" actId="478"/>
          <ac:cxnSpMkLst>
            <pc:docMk/>
            <pc:sldMk cId="3648886001" sldId="345"/>
            <ac:cxnSpMk id="11" creationId="{3E980580-00C6-4008-9E88-B761D03B02EE}"/>
          </ac:cxnSpMkLst>
        </pc:cxnChg>
      </pc:sldChg>
      <pc:sldChg chg="addSp delSp modSp mod">
        <pc:chgData name="Tan" userId="20e48cba-d982-468b-be47-641cf873d401" providerId="ADAL" clId="{F5E58D74-7948-4ADB-9542-6C85FE27686A}" dt="2021-10-21T20:39:38.352" v="2261" actId="1076"/>
        <pc:sldMkLst>
          <pc:docMk/>
          <pc:sldMk cId="3327520835" sldId="348"/>
        </pc:sldMkLst>
        <pc:spChg chg="mod">
          <ac:chgData name="Tan" userId="20e48cba-d982-468b-be47-641cf873d401" providerId="ADAL" clId="{F5E58D74-7948-4ADB-9542-6C85FE27686A}" dt="2021-10-21T20:38:42.875" v="2256" actId="1076"/>
          <ac:spMkLst>
            <pc:docMk/>
            <pc:sldMk cId="3327520835" sldId="348"/>
            <ac:spMk id="14" creationId="{31744EF3-C828-48AA-BBF7-92432F99DAD3}"/>
          </ac:spMkLst>
        </pc:spChg>
        <pc:picChg chg="add del mod">
          <ac:chgData name="Tan" userId="20e48cba-d982-468b-be47-641cf873d401" providerId="ADAL" clId="{F5E58D74-7948-4ADB-9542-6C85FE27686A}" dt="2021-10-21T20:37:12.028" v="2240" actId="478"/>
          <ac:picMkLst>
            <pc:docMk/>
            <pc:sldMk cId="3327520835" sldId="348"/>
            <ac:picMk id="4" creationId="{D1773A76-F54F-46F1-BF3B-E02B6ECE97EA}"/>
          </ac:picMkLst>
        </pc:picChg>
        <pc:picChg chg="add mod">
          <ac:chgData name="Tan" userId="20e48cba-d982-468b-be47-641cf873d401" providerId="ADAL" clId="{F5E58D74-7948-4ADB-9542-6C85FE27686A}" dt="2021-10-21T20:38:30.636" v="2255" actId="14100"/>
          <ac:picMkLst>
            <pc:docMk/>
            <pc:sldMk cId="3327520835" sldId="348"/>
            <ac:picMk id="6" creationId="{288C8067-04B6-4225-9857-A70647A75A08}"/>
          </ac:picMkLst>
        </pc:picChg>
        <pc:picChg chg="mod">
          <ac:chgData name="Tan" userId="20e48cba-d982-468b-be47-641cf873d401" providerId="ADAL" clId="{F5E58D74-7948-4ADB-9542-6C85FE27686A}" dt="2021-10-21T20:39:16.564" v="2260" actId="1076"/>
          <ac:picMkLst>
            <pc:docMk/>
            <pc:sldMk cId="3327520835" sldId="348"/>
            <ac:picMk id="17" creationId="{6B97EBE3-2EC1-7945-8EF3-3FB46A28C300}"/>
          </ac:picMkLst>
        </pc:picChg>
        <pc:cxnChg chg="mod">
          <ac:chgData name="Tan" userId="20e48cba-d982-468b-be47-641cf873d401" providerId="ADAL" clId="{F5E58D74-7948-4ADB-9542-6C85FE27686A}" dt="2021-10-21T20:39:38.352" v="2261" actId="1076"/>
          <ac:cxnSpMkLst>
            <pc:docMk/>
            <pc:sldMk cId="3327520835" sldId="348"/>
            <ac:cxnSpMk id="19" creationId="{B3622104-8248-8A49-BE15-0537C79B7E48}"/>
          </ac:cxnSpMkLst>
        </pc:cxnChg>
      </pc:sldChg>
      <pc:sldChg chg="del">
        <pc:chgData name="Tan" userId="20e48cba-d982-468b-be47-641cf873d401" providerId="ADAL" clId="{F5E58D74-7948-4ADB-9542-6C85FE27686A}" dt="2021-10-21T19:58:25.789" v="1297" actId="47"/>
        <pc:sldMkLst>
          <pc:docMk/>
          <pc:sldMk cId="427788499" sldId="355"/>
        </pc:sldMkLst>
      </pc:sldChg>
      <pc:sldChg chg="addSp delSp modSp add mod">
        <pc:chgData name="Tan" userId="20e48cba-d982-468b-be47-641cf873d401" providerId="ADAL" clId="{F5E58D74-7948-4ADB-9542-6C85FE27686A}" dt="2021-10-21T20:27:02.182" v="2220" actId="14100"/>
        <pc:sldMkLst>
          <pc:docMk/>
          <pc:sldMk cId="666581065" sldId="356"/>
        </pc:sldMkLst>
        <pc:spChg chg="add del mod">
          <ac:chgData name="Tan" userId="20e48cba-d982-468b-be47-641cf873d401" providerId="ADAL" clId="{F5E58D74-7948-4ADB-9542-6C85FE27686A}" dt="2021-10-21T20:26:45.794" v="2216"/>
          <ac:spMkLst>
            <pc:docMk/>
            <pc:sldMk cId="666581065" sldId="356"/>
            <ac:spMk id="3" creationId="{022871DE-30E0-4040-ADCD-1C8376553C59}"/>
          </ac:spMkLst>
        </pc:spChg>
        <pc:spChg chg="del mod">
          <ac:chgData name="Tan" userId="20e48cba-d982-468b-be47-641cf873d401" providerId="ADAL" clId="{F5E58D74-7948-4ADB-9542-6C85FE27686A}" dt="2021-10-21T19:57:37.852" v="1293" actId="478"/>
          <ac:spMkLst>
            <pc:docMk/>
            <pc:sldMk cId="666581065" sldId="356"/>
            <ac:spMk id="4" creationId="{3CF18923-1425-454C-99F8-A290419A9973}"/>
          </ac:spMkLst>
        </pc:spChg>
        <pc:spChg chg="add mod">
          <ac:chgData name="Tan" userId="20e48cba-d982-468b-be47-641cf873d401" providerId="ADAL" clId="{F5E58D74-7948-4ADB-9542-6C85FE27686A}" dt="2021-10-21T20:27:02.182" v="2220" actId="14100"/>
          <ac:spMkLst>
            <pc:docMk/>
            <pc:sldMk cId="666581065" sldId="356"/>
            <ac:spMk id="5" creationId="{E4C6FEE4-FAC5-4232-A382-ACB13755179B}"/>
          </ac:spMkLst>
        </pc:spChg>
        <pc:spChg chg="add del mod">
          <ac:chgData name="Tan" userId="20e48cba-d982-468b-be47-641cf873d401" providerId="ADAL" clId="{F5E58D74-7948-4ADB-9542-6C85FE27686A}" dt="2021-10-21T20:26:45.794" v="2218"/>
          <ac:spMkLst>
            <pc:docMk/>
            <pc:sldMk cId="666581065" sldId="356"/>
            <ac:spMk id="6" creationId="{110F3381-97DE-4EAD-BFB7-9742828ABED7}"/>
          </ac:spMkLst>
        </pc:spChg>
        <pc:spChg chg="del">
          <ac:chgData name="Tan" userId="20e48cba-d982-468b-be47-641cf873d401" providerId="ADAL" clId="{F5E58D74-7948-4ADB-9542-6C85FE27686A}" dt="2021-10-21T19:57:25.032" v="1290" actId="478"/>
          <ac:spMkLst>
            <pc:docMk/>
            <pc:sldMk cId="666581065" sldId="356"/>
            <ac:spMk id="8" creationId="{ACEB79DF-3AAB-46EC-952C-7E091862C688}"/>
          </ac:spMkLst>
        </pc:spChg>
        <pc:spChg chg="add mod">
          <ac:chgData name="Tan" userId="20e48cba-d982-468b-be47-641cf873d401" providerId="ADAL" clId="{F5E58D74-7948-4ADB-9542-6C85FE27686A}" dt="2021-10-21T20:25:46.407" v="2200" actId="21"/>
          <ac:spMkLst>
            <pc:docMk/>
            <pc:sldMk cId="666581065" sldId="356"/>
            <ac:spMk id="9" creationId="{1EE01DF2-DDDC-435F-B41A-8FA95852BE7E}"/>
          </ac:spMkLst>
        </pc:spChg>
        <pc:spChg chg="mod">
          <ac:chgData name="Tan" userId="20e48cba-d982-468b-be47-641cf873d401" providerId="ADAL" clId="{F5E58D74-7948-4ADB-9542-6C85FE27686A}" dt="2021-10-21T19:59:53.182" v="1327" actId="20577"/>
          <ac:spMkLst>
            <pc:docMk/>
            <pc:sldMk cId="666581065" sldId="356"/>
            <ac:spMk id="33" creationId="{FE040AD5-0D68-4621-AB86-12A9EDCCF60D}"/>
          </ac:spMkLst>
        </pc:spChg>
        <pc:graphicFrameChg chg="del">
          <ac:chgData name="Tan" userId="20e48cba-d982-468b-be47-641cf873d401" providerId="ADAL" clId="{F5E58D74-7948-4ADB-9542-6C85FE27686A}" dt="2021-10-21T19:57:21.432" v="1289" actId="478"/>
          <ac:graphicFrameMkLst>
            <pc:docMk/>
            <pc:sldMk cId="666581065" sldId="356"/>
            <ac:graphicFrameMk id="2" creationId="{0ADCBCD8-6480-4A6B-8EBB-96F48644C21D}"/>
          </ac:graphicFrameMkLst>
        </pc:graphicFrameChg>
      </pc:sldChg>
    </pc:docChg>
  </pc:docChgLst>
  <pc:docChgLst>
    <pc:chgData name="Xuxin Tan" userId="S::xuxin.tan@fs-students.de::20e48cba-d982-468b-be47-641cf873d401" providerId="AD" clId="Web-{F9FAC257-41A8-8D2C-37B6-89F063405537}"/>
    <pc:docChg chg="modSld">
      <pc:chgData name="Xuxin Tan" userId="S::xuxin.tan@fs-students.de::20e48cba-d982-468b-be47-641cf873d401" providerId="AD" clId="Web-{F9FAC257-41A8-8D2C-37B6-89F063405537}" dt="2021-10-20T14:09:55.798" v="34" actId="20577"/>
      <pc:docMkLst>
        <pc:docMk/>
      </pc:docMkLst>
      <pc:sldChg chg="modSp">
        <pc:chgData name="Xuxin Tan" userId="S::xuxin.tan@fs-students.de::20e48cba-d982-468b-be47-641cf873d401" providerId="AD" clId="Web-{F9FAC257-41A8-8D2C-37B6-89F063405537}" dt="2021-10-20T14:09:55.798" v="34" actId="20577"/>
        <pc:sldMkLst>
          <pc:docMk/>
          <pc:sldMk cId="59782169" sldId="319"/>
        </pc:sldMkLst>
        <pc:spChg chg="mod">
          <ac:chgData name="Xuxin Tan" userId="S::xuxin.tan@fs-students.de::20e48cba-d982-468b-be47-641cf873d401" providerId="AD" clId="Web-{F9FAC257-41A8-8D2C-37B6-89F063405537}" dt="2021-10-20T14:09:55.798" v="34" actId="20577"/>
          <ac:spMkLst>
            <pc:docMk/>
            <pc:sldMk cId="59782169" sldId="319"/>
            <ac:spMk id="27" creationId="{846961D8-61BB-4898-A874-42A487CE975C}"/>
          </ac:spMkLst>
        </pc:spChg>
      </pc:sldChg>
    </pc:docChg>
  </pc:docChgLst>
  <pc:docChgLst>
    <pc:chgData name="Xuxin Tan" userId="S::xuxin.tan@fs-students.de::20e48cba-d982-468b-be47-641cf873d401" providerId="AD" clId="Web-{5A627B73-D19B-20AB-75AF-1B122E000923}"/>
    <pc:docChg chg="modSld">
      <pc:chgData name="Xuxin Tan" userId="S::xuxin.tan@fs-students.de::20e48cba-d982-468b-be47-641cf873d401" providerId="AD" clId="Web-{5A627B73-D19B-20AB-75AF-1B122E000923}" dt="2021-10-20T14:12:52.160" v="2" actId="20577"/>
      <pc:docMkLst>
        <pc:docMk/>
      </pc:docMkLst>
      <pc:sldChg chg="modSp">
        <pc:chgData name="Xuxin Tan" userId="S::xuxin.tan@fs-students.de::20e48cba-d982-468b-be47-641cf873d401" providerId="AD" clId="Web-{5A627B73-D19B-20AB-75AF-1B122E000923}" dt="2021-10-20T14:12:52.160" v="2" actId="20577"/>
        <pc:sldMkLst>
          <pc:docMk/>
          <pc:sldMk cId="59782169" sldId="319"/>
        </pc:sldMkLst>
        <pc:spChg chg="mod">
          <ac:chgData name="Xuxin Tan" userId="S::xuxin.tan@fs-students.de::20e48cba-d982-468b-be47-641cf873d401" providerId="AD" clId="Web-{5A627B73-D19B-20AB-75AF-1B122E000923}" dt="2021-10-20T14:12:52.160" v="2" actId="20577"/>
          <ac:spMkLst>
            <pc:docMk/>
            <pc:sldMk cId="59782169" sldId="319"/>
            <ac:spMk id="27" creationId="{846961D8-61BB-4898-A874-42A487CE975C}"/>
          </ac:spMkLst>
        </pc:spChg>
      </pc:sldChg>
    </pc:docChg>
  </pc:docChgLst>
  <pc:docChgLst>
    <pc:chgData name="XingYifan" userId="S::yifan.xing@fs-students.de::ec0b773b-020c-4ca1-9a1f-a4f9c5eab3ae" providerId="AD" clId="Web-{D711B674-60E0-942E-71A3-E15584C68515}"/>
    <pc:docChg chg="modSld">
      <pc:chgData name="XingYifan" userId="S::yifan.xing@fs-students.de::ec0b773b-020c-4ca1-9a1f-a4f9c5eab3ae" providerId="AD" clId="Web-{D711B674-60E0-942E-71A3-E15584C68515}" dt="2021-10-11T22:16:52.298" v="1121"/>
      <pc:docMkLst>
        <pc:docMk/>
      </pc:docMkLst>
      <pc:sldChg chg="modSp modNotes">
        <pc:chgData name="XingYifan" userId="S::yifan.xing@fs-students.de::ec0b773b-020c-4ca1-9a1f-a4f9c5eab3ae" providerId="AD" clId="Web-{D711B674-60E0-942E-71A3-E15584C68515}" dt="2021-10-11T22:16:52.298" v="1121"/>
        <pc:sldMkLst>
          <pc:docMk/>
          <pc:sldMk cId="2275585156" sldId="259"/>
        </pc:sldMkLst>
        <pc:graphicFrameChg chg="mod modGraphic">
          <ac:chgData name="XingYifan" userId="S::yifan.xing@fs-students.de::ec0b773b-020c-4ca1-9a1f-a4f9c5eab3ae" providerId="AD" clId="Web-{D711B674-60E0-942E-71A3-E15584C68515}" dt="2021-10-11T21:42:07.916" v="1065"/>
          <ac:graphicFrameMkLst>
            <pc:docMk/>
            <pc:sldMk cId="2275585156" sldId="259"/>
            <ac:graphicFrameMk id="4" creationId="{23D3D589-C066-41CC-B1E9-3013BA639920}"/>
          </ac:graphicFrameMkLst>
        </pc:graphicFrameChg>
      </pc:sldChg>
    </pc:docChg>
  </pc:docChgLst>
  <pc:docChgLst>
    <pc:chgData name="Xuxin Tan" userId="S::xuxin.tan@fs-students.de::20e48cba-d982-468b-be47-641cf873d401" providerId="AD" clId="Web-{859F119C-E2F1-834E-6872-55C0BBF2C7C8}"/>
    <pc:docChg chg="modSld">
      <pc:chgData name="Xuxin Tan" userId="S::xuxin.tan@fs-students.de::20e48cba-d982-468b-be47-641cf873d401" providerId="AD" clId="Web-{859F119C-E2F1-834E-6872-55C0BBF2C7C8}" dt="2021-10-22T10:32:54.507" v="5" actId="20577"/>
      <pc:docMkLst>
        <pc:docMk/>
      </pc:docMkLst>
      <pc:sldChg chg="modSp">
        <pc:chgData name="Xuxin Tan" userId="S::xuxin.tan@fs-students.de::20e48cba-d982-468b-be47-641cf873d401" providerId="AD" clId="Web-{859F119C-E2F1-834E-6872-55C0BBF2C7C8}" dt="2021-10-22T10:32:54.507" v="5" actId="20577"/>
        <pc:sldMkLst>
          <pc:docMk/>
          <pc:sldMk cId="666581065" sldId="356"/>
        </pc:sldMkLst>
        <pc:spChg chg="mod">
          <ac:chgData name="Xuxin Tan" userId="S::xuxin.tan@fs-students.de::20e48cba-d982-468b-be47-641cf873d401" providerId="AD" clId="Web-{859F119C-E2F1-834E-6872-55C0BBF2C7C8}" dt="2021-10-22T10:32:54.507" v="5" actId="20577"/>
          <ac:spMkLst>
            <pc:docMk/>
            <pc:sldMk cId="666581065" sldId="356"/>
            <ac:spMk id="9" creationId="{1EE01DF2-DDDC-435F-B41A-8FA95852BE7E}"/>
          </ac:spMkLst>
        </pc:spChg>
      </pc:sldChg>
    </pc:docChg>
  </pc:docChgLst>
  <pc:docChgLst>
    <pc:chgData name="Xuxin Tan" userId="S::xuxin.tan@fs-students.de::20e48cba-d982-468b-be47-641cf873d401" providerId="AD" clId="Web-{2BF8D359-1BC8-3647-8273-5786B5B1477C}"/>
    <pc:docChg chg="modSld">
      <pc:chgData name="Xuxin Tan" userId="S::xuxin.tan@fs-students.de::20e48cba-d982-468b-be47-641cf873d401" providerId="AD" clId="Web-{2BF8D359-1BC8-3647-8273-5786B5B1477C}" dt="2021-10-20T12:26:05.012" v="31"/>
      <pc:docMkLst>
        <pc:docMk/>
      </pc:docMkLst>
      <pc:sldChg chg="modSp">
        <pc:chgData name="Xuxin Tan" userId="S::xuxin.tan@fs-students.de::20e48cba-d982-468b-be47-641cf873d401" providerId="AD" clId="Web-{2BF8D359-1BC8-3647-8273-5786B5B1477C}" dt="2021-10-20T12:16:36.528" v="30" actId="20577"/>
        <pc:sldMkLst>
          <pc:docMk/>
          <pc:sldMk cId="942637165" sldId="311"/>
        </pc:sldMkLst>
        <pc:spChg chg="mod">
          <ac:chgData name="Xuxin Tan" userId="S::xuxin.tan@fs-students.de::20e48cba-d982-468b-be47-641cf873d401" providerId="AD" clId="Web-{2BF8D359-1BC8-3647-8273-5786B5B1477C}" dt="2021-10-20T12:16:36.528" v="30" actId="20577"/>
          <ac:spMkLst>
            <pc:docMk/>
            <pc:sldMk cId="942637165" sldId="311"/>
            <ac:spMk id="12" creationId="{61A27681-F815-48B9-9A9A-5A841B6F593D}"/>
          </ac:spMkLst>
        </pc:spChg>
      </pc:sldChg>
      <pc:sldChg chg="addSp">
        <pc:chgData name="Xuxin Tan" userId="S::xuxin.tan@fs-students.de::20e48cba-d982-468b-be47-641cf873d401" providerId="AD" clId="Web-{2BF8D359-1BC8-3647-8273-5786B5B1477C}" dt="2021-10-20T12:26:05.012" v="31"/>
        <pc:sldMkLst>
          <pc:docMk/>
          <pc:sldMk cId="217499512" sldId="344"/>
        </pc:sldMkLst>
        <pc:spChg chg="add">
          <ac:chgData name="Xuxin Tan" userId="S::xuxin.tan@fs-students.de::20e48cba-d982-468b-be47-641cf873d401" providerId="AD" clId="Web-{2BF8D359-1BC8-3647-8273-5786B5B1477C}" dt="2021-10-20T12:26:05.012" v="31"/>
          <ac:spMkLst>
            <pc:docMk/>
            <pc:sldMk cId="217499512" sldId="344"/>
            <ac:spMk id="3" creationId="{23A085B4-A667-4544-B0F7-9DF646076EF7}"/>
          </ac:spMkLst>
        </pc:spChg>
      </pc:sldChg>
    </pc:docChg>
  </pc:docChgLst>
  <pc:docChgLst>
    <pc:chgData name="XingYifan" userId="S::yifan.xing@fs-students.de::ec0b773b-020c-4ca1-9a1f-a4f9c5eab3ae" providerId="AD" clId="Web-{D926102B-98D7-86CA-A03F-6E22549750D1}"/>
    <pc:docChg chg="addSld delSld modSld sldOrd">
      <pc:chgData name="XingYifan" userId="S::yifan.xing@fs-students.de::ec0b773b-020c-4ca1-9a1f-a4f9c5eab3ae" providerId="AD" clId="Web-{D926102B-98D7-86CA-A03F-6E22549750D1}" dt="2021-10-20T14:13:02.163" v="1083" actId="1076"/>
      <pc:docMkLst>
        <pc:docMk/>
      </pc:docMkLst>
      <pc:sldChg chg="delSp modSp del">
        <pc:chgData name="XingYifan" userId="S::yifan.xing@fs-students.de::ec0b773b-020c-4ca1-9a1f-a4f9c5eab3ae" providerId="AD" clId="Web-{D926102B-98D7-86CA-A03F-6E22549750D1}" dt="2021-10-20T13:36:42.192" v="592"/>
        <pc:sldMkLst>
          <pc:docMk/>
          <pc:sldMk cId="2162620498" sldId="327"/>
        </pc:sldMkLst>
        <pc:spChg chg="mod">
          <ac:chgData name="XingYifan" userId="S::yifan.xing@fs-students.de::ec0b773b-020c-4ca1-9a1f-a4f9c5eab3ae" providerId="AD" clId="Web-{D926102B-98D7-86CA-A03F-6E22549750D1}" dt="2021-10-20T13:23:18.753" v="122" actId="1076"/>
          <ac:spMkLst>
            <pc:docMk/>
            <pc:sldMk cId="2162620498" sldId="327"/>
            <ac:spMk id="4" creationId="{B24CEA83-3EDA-4925-92BF-C5C8D0A4BEA0}"/>
          </ac:spMkLst>
        </pc:spChg>
        <pc:spChg chg="del">
          <ac:chgData name="XingYifan" userId="S::yifan.xing@fs-students.de::ec0b773b-020c-4ca1-9a1f-a4f9c5eab3ae" providerId="AD" clId="Web-{D926102B-98D7-86CA-A03F-6E22549750D1}" dt="2021-10-20T13:19:52.560" v="71"/>
          <ac:spMkLst>
            <pc:docMk/>
            <pc:sldMk cId="2162620498" sldId="327"/>
            <ac:spMk id="8" creationId="{B893367A-DE2A-4596-8943-1B4D9F17ADE5}"/>
          </ac:spMkLst>
        </pc:spChg>
        <pc:spChg chg="del">
          <ac:chgData name="XingYifan" userId="S::yifan.xing@fs-students.de::ec0b773b-020c-4ca1-9a1f-a4f9c5eab3ae" providerId="AD" clId="Web-{D926102B-98D7-86CA-A03F-6E22549750D1}" dt="2021-10-20T13:19:26.810" v="59"/>
          <ac:spMkLst>
            <pc:docMk/>
            <pc:sldMk cId="2162620498" sldId="327"/>
            <ac:spMk id="9" creationId="{61785E7A-F957-47BA-9863-7E4FA5F1870F}"/>
          </ac:spMkLst>
        </pc:spChg>
        <pc:spChg chg="mod">
          <ac:chgData name="XingYifan" userId="S::yifan.xing@fs-students.de::ec0b773b-020c-4ca1-9a1f-a4f9c5eab3ae" providerId="AD" clId="Web-{D926102B-98D7-86CA-A03F-6E22549750D1}" dt="2021-10-20T13:23:12.518" v="121" actId="1076"/>
          <ac:spMkLst>
            <pc:docMk/>
            <pc:sldMk cId="2162620498" sldId="327"/>
            <ac:spMk id="11" creationId="{5C66E887-3C9A-49ED-A9B7-634F96891EDC}"/>
          </ac:spMkLst>
        </pc:spChg>
        <pc:picChg chg="del">
          <ac:chgData name="XingYifan" userId="S::yifan.xing@fs-students.de::ec0b773b-020c-4ca1-9a1f-a4f9c5eab3ae" providerId="AD" clId="Web-{D926102B-98D7-86CA-A03F-6E22549750D1}" dt="2021-10-20T13:20:07.373" v="78"/>
          <ac:picMkLst>
            <pc:docMk/>
            <pc:sldMk cId="2162620498" sldId="327"/>
            <ac:picMk id="5" creationId="{B3EB4551-D899-4B29-B886-FFE788ADE385}"/>
          </ac:picMkLst>
        </pc:picChg>
        <pc:picChg chg="del">
          <ac:chgData name="XingYifan" userId="S::yifan.xing@fs-students.de::ec0b773b-020c-4ca1-9a1f-a4f9c5eab3ae" providerId="AD" clId="Web-{D926102B-98D7-86CA-A03F-6E22549750D1}" dt="2021-10-20T13:22:33.080" v="110"/>
          <ac:picMkLst>
            <pc:docMk/>
            <pc:sldMk cId="2162620498" sldId="327"/>
            <ac:picMk id="6" creationId="{E48E24C9-BCDB-4EDB-A18D-24BA04D6D808}"/>
          </ac:picMkLst>
        </pc:picChg>
        <pc:picChg chg="del">
          <ac:chgData name="XingYifan" userId="S::yifan.xing@fs-students.de::ec0b773b-020c-4ca1-9a1f-a4f9c5eab3ae" providerId="AD" clId="Web-{D926102B-98D7-86CA-A03F-6E22549750D1}" dt="2021-10-20T13:19:33.451" v="62"/>
          <ac:picMkLst>
            <pc:docMk/>
            <pc:sldMk cId="2162620498" sldId="327"/>
            <ac:picMk id="7" creationId="{5B97C1C5-64EB-434D-A496-E8C7E81ADE8A}"/>
          </ac:picMkLst>
        </pc:picChg>
        <pc:picChg chg="del">
          <ac:chgData name="XingYifan" userId="S::yifan.xing@fs-students.de::ec0b773b-020c-4ca1-9a1f-a4f9c5eab3ae" providerId="AD" clId="Web-{D926102B-98D7-86CA-A03F-6E22549750D1}" dt="2021-10-20T13:22:39.424" v="112"/>
          <ac:picMkLst>
            <pc:docMk/>
            <pc:sldMk cId="2162620498" sldId="327"/>
            <ac:picMk id="16" creationId="{8C1B3448-AC5F-43E2-B6B5-D3C1A9349F52}"/>
          </ac:picMkLst>
        </pc:picChg>
        <pc:cxnChg chg="mod">
          <ac:chgData name="XingYifan" userId="S::yifan.xing@fs-students.de::ec0b773b-020c-4ca1-9a1f-a4f9c5eab3ae" providerId="AD" clId="Web-{D926102B-98D7-86CA-A03F-6E22549750D1}" dt="2021-10-20T13:23:21.534" v="123" actId="1076"/>
          <ac:cxnSpMkLst>
            <pc:docMk/>
            <pc:sldMk cId="2162620498" sldId="327"/>
            <ac:cxnSpMk id="12" creationId="{1539DCE8-E772-4EF6-ADFB-E5E06A6AC758}"/>
          </ac:cxnSpMkLst>
        </pc:cxnChg>
      </pc:sldChg>
      <pc:sldChg chg="delSp del">
        <pc:chgData name="XingYifan" userId="S::yifan.xing@fs-students.de::ec0b773b-020c-4ca1-9a1f-a4f9c5eab3ae" providerId="AD" clId="Web-{D926102B-98D7-86CA-A03F-6E22549750D1}" dt="2021-10-20T13:25:14.771" v="143"/>
        <pc:sldMkLst>
          <pc:docMk/>
          <pc:sldMk cId="1300532342" sldId="331"/>
        </pc:sldMkLst>
        <pc:spChg chg="del">
          <ac:chgData name="XingYifan" userId="S::yifan.xing@fs-students.de::ec0b773b-020c-4ca1-9a1f-a4f9c5eab3ae" providerId="AD" clId="Web-{D926102B-98D7-86CA-A03F-6E22549750D1}" dt="2021-10-20T13:22:12.501" v="101"/>
          <ac:spMkLst>
            <pc:docMk/>
            <pc:sldMk cId="1300532342" sldId="331"/>
            <ac:spMk id="4" creationId="{A9DB2B7F-1565-4E93-87C3-A836B9D724FD}"/>
          </ac:spMkLst>
        </pc:spChg>
        <pc:spChg chg="del">
          <ac:chgData name="XingYifan" userId="S::yifan.xing@fs-students.de::ec0b773b-020c-4ca1-9a1f-a4f9c5eab3ae" providerId="AD" clId="Web-{D926102B-98D7-86CA-A03F-6E22549750D1}" dt="2021-10-20T13:22:05.063" v="98"/>
          <ac:spMkLst>
            <pc:docMk/>
            <pc:sldMk cId="1300532342" sldId="331"/>
            <ac:spMk id="14" creationId="{8C4F134B-85CD-427D-AD2D-E75C532E35C7}"/>
          </ac:spMkLst>
        </pc:spChg>
        <pc:spChg chg="del">
          <ac:chgData name="XingYifan" userId="S::yifan.xing@fs-students.de::ec0b773b-020c-4ca1-9a1f-a4f9c5eab3ae" providerId="AD" clId="Web-{D926102B-98D7-86CA-A03F-6E22549750D1}" dt="2021-10-20T13:20:24.686" v="82"/>
          <ac:spMkLst>
            <pc:docMk/>
            <pc:sldMk cId="1300532342" sldId="331"/>
            <ac:spMk id="17" creationId="{76FF0807-2A15-46B2-8431-AF3AB38C4DFB}"/>
          </ac:spMkLst>
        </pc:spChg>
        <pc:picChg chg="del">
          <ac:chgData name="XingYifan" userId="S::yifan.xing@fs-students.de::ec0b773b-020c-4ca1-9a1f-a4f9c5eab3ae" providerId="AD" clId="Web-{D926102B-98D7-86CA-A03F-6E22549750D1}" dt="2021-10-20T13:22:23.017" v="107"/>
          <ac:picMkLst>
            <pc:docMk/>
            <pc:sldMk cId="1300532342" sldId="331"/>
            <ac:picMk id="5" creationId="{3E8B3783-FBFD-40CE-9FB8-781CACAD6FC1}"/>
          </ac:picMkLst>
        </pc:picChg>
        <pc:picChg chg="del">
          <ac:chgData name="XingYifan" userId="S::yifan.xing@fs-students.de::ec0b773b-020c-4ca1-9a1f-a4f9c5eab3ae" providerId="AD" clId="Web-{D926102B-98D7-86CA-A03F-6E22549750D1}" dt="2021-10-20T13:23:26.768" v="124"/>
          <ac:picMkLst>
            <pc:docMk/>
            <pc:sldMk cId="1300532342" sldId="331"/>
            <ac:picMk id="7" creationId="{682552CF-7E96-420E-8C71-62C3878B4904}"/>
          </ac:picMkLst>
        </pc:picChg>
        <pc:picChg chg="del">
          <ac:chgData name="XingYifan" userId="S::yifan.xing@fs-students.de::ec0b773b-020c-4ca1-9a1f-a4f9c5eab3ae" providerId="AD" clId="Web-{D926102B-98D7-86CA-A03F-6E22549750D1}" dt="2021-10-20T13:20:45.812" v="90"/>
          <ac:picMkLst>
            <pc:docMk/>
            <pc:sldMk cId="1300532342" sldId="331"/>
            <ac:picMk id="8" creationId="{0BD3B605-F525-4060-BBD5-72F5DCE71140}"/>
          </ac:picMkLst>
        </pc:picChg>
      </pc:sldChg>
      <pc:sldChg chg="addSp delSp modSp ord">
        <pc:chgData name="XingYifan" userId="S::yifan.xing@fs-students.de::ec0b773b-020c-4ca1-9a1f-a4f9c5eab3ae" providerId="AD" clId="Web-{D926102B-98D7-86CA-A03F-6E22549750D1}" dt="2021-10-20T13:52:53.324" v="995" actId="1076"/>
        <pc:sldMkLst>
          <pc:docMk/>
          <pc:sldMk cId="923699745" sldId="340"/>
        </pc:sldMkLst>
        <pc:spChg chg="add del mod">
          <ac:chgData name="XingYifan" userId="S::yifan.xing@fs-students.de::ec0b773b-020c-4ca1-9a1f-a4f9c5eab3ae" providerId="AD" clId="Web-{D926102B-98D7-86CA-A03F-6E22549750D1}" dt="2021-10-20T13:23:43.456" v="131"/>
          <ac:spMkLst>
            <pc:docMk/>
            <pc:sldMk cId="923699745" sldId="340"/>
            <ac:spMk id="3" creationId="{683CB43B-B72D-40AA-BF85-D9705F567854}"/>
          </ac:spMkLst>
        </pc:spChg>
        <pc:spChg chg="add mod">
          <ac:chgData name="XingYifan" userId="S::yifan.xing@fs-students.de::ec0b773b-020c-4ca1-9a1f-a4f9c5eab3ae" providerId="AD" clId="Web-{D926102B-98D7-86CA-A03F-6E22549750D1}" dt="2021-10-20T13:52:50.480" v="994" actId="1076"/>
          <ac:spMkLst>
            <pc:docMk/>
            <pc:sldMk cId="923699745" sldId="340"/>
            <ac:spMk id="4" creationId="{BFB68138-DEC7-4816-81A8-6AC3055A38F0}"/>
          </ac:spMkLst>
        </pc:spChg>
        <pc:spChg chg="add del mod">
          <ac:chgData name="XingYifan" userId="S::yifan.xing@fs-students.de::ec0b773b-020c-4ca1-9a1f-a4f9c5eab3ae" providerId="AD" clId="Web-{D926102B-98D7-86CA-A03F-6E22549750D1}" dt="2021-10-20T13:52:39.104" v="991"/>
          <ac:spMkLst>
            <pc:docMk/>
            <pc:sldMk cId="923699745" sldId="340"/>
            <ac:spMk id="16" creationId="{F694125C-4E1B-45FF-90B9-A7DE6699B098}"/>
          </ac:spMkLst>
        </pc:spChg>
        <pc:spChg chg="mod">
          <ac:chgData name="XingYifan" userId="S::yifan.xing@fs-students.de::ec0b773b-020c-4ca1-9a1f-a4f9c5eab3ae" providerId="AD" clId="Web-{D926102B-98D7-86CA-A03F-6E22549750D1}" dt="2021-10-20T13:36:54.396" v="607" actId="20577"/>
          <ac:spMkLst>
            <pc:docMk/>
            <pc:sldMk cId="923699745" sldId="340"/>
            <ac:spMk id="18" creationId="{907AA1F2-AEBF-4BD5-8F43-2AB381303E80}"/>
          </ac:spMkLst>
        </pc:spChg>
        <pc:spChg chg="del mod">
          <ac:chgData name="XingYifan" userId="S::yifan.xing@fs-students.de::ec0b773b-020c-4ca1-9a1f-a4f9c5eab3ae" providerId="AD" clId="Web-{D926102B-98D7-86CA-A03F-6E22549750D1}" dt="2021-10-20T13:16:36.478" v="27"/>
          <ac:spMkLst>
            <pc:docMk/>
            <pc:sldMk cId="923699745" sldId="340"/>
            <ac:spMk id="19" creationId="{49C595AA-51F6-4E9C-A5FB-C02222300DCF}"/>
          </ac:spMkLst>
        </pc:spChg>
        <pc:spChg chg="del mod">
          <ac:chgData name="XingYifan" userId="S::yifan.xing@fs-students.de::ec0b773b-020c-4ca1-9a1f-a4f9c5eab3ae" providerId="AD" clId="Web-{D926102B-98D7-86CA-A03F-6E22549750D1}" dt="2021-10-20T13:19:13.356" v="56"/>
          <ac:spMkLst>
            <pc:docMk/>
            <pc:sldMk cId="923699745" sldId="340"/>
            <ac:spMk id="21" creationId="{3A579730-4056-4C6F-B95D-1263B53CF714}"/>
          </ac:spMkLst>
        </pc:spChg>
        <pc:spChg chg="mod">
          <ac:chgData name="XingYifan" userId="S::yifan.xing@fs-students.de::ec0b773b-020c-4ca1-9a1f-a4f9c5eab3ae" providerId="AD" clId="Web-{D926102B-98D7-86CA-A03F-6E22549750D1}" dt="2021-10-20T13:52:53.324" v="995" actId="1076"/>
          <ac:spMkLst>
            <pc:docMk/>
            <pc:sldMk cId="923699745" sldId="340"/>
            <ac:spMk id="22" creationId="{C02D202C-1240-41EC-B833-24DF9CB3F7CF}"/>
          </ac:spMkLst>
        </pc:spChg>
        <pc:picChg chg="add mod">
          <ac:chgData name="XingYifan" userId="S::yifan.xing@fs-students.de::ec0b773b-020c-4ca1-9a1f-a4f9c5eab3ae" providerId="AD" clId="Web-{D926102B-98D7-86CA-A03F-6E22549750D1}" dt="2021-10-20T13:44:01.780" v="911" actId="1076"/>
          <ac:picMkLst>
            <pc:docMk/>
            <pc:sldMk cId="923699745" sldId="340"/>
            <ac:picMk id="2" creationId="{C24390F1-92EA-4A94-B8B1-1B876C7D2E2C}"/>
          </ac:picMkLst>
        </pc:picChg>
        <pc:cxnChg chg="mod">
          <ac:chgData name="XingYifan" userId="S::yifan.xing@fs-students.de::ec0b773b-020c-4ca1-9a1f-a4f9c5eab3ae" providerId="AD" clId="Web-{D926102B-98D7-86CA-A03F-6E22549750D1}" dt="2021-10-20T13:37:59.632" v="658" actId="1076"/>
          <ac:cxnSpMkLst>
            <pc:docMk/>
            <pc:sldMk cId="923699745" sldId="340"/>
            <ac:cxnSpMk id="24" creationId="{B036D71E-BD13-45B7-A312-F825ABA7E66F}"/>
          </ac:cxnSpMkLst>
        </pc:cxnChg>
      </pc:sldChg>
      <pc:sldChg chg="addSp delSp modSp">
        <pc:chgData name="XingYifan" userId="S::yifan.xing@fs-students.de::ec0b773b-020c-4ca1-9a1f-a4f9c5eab3ae" providerId="AD" clId="Web-{D926102B-98D7-86CA-A03F-6E22549750D1}" dt="2021-10-20T13:53:32.528" v="1000" actId="1076"/>
        <pc:sldMkLst>
          <pc:docMk/>
          <pc:sldMk cId="1143917525" sldId="342"/>
        </pc:sldMkLst>
        <pc:spChg chg="add mod">
          <ac:chgData name="XingYifan" userId="S::yifan.xing@fs-students.de::ec0b773b-020c-4ca1-9a1f-a4f9c5eab3ae" providerId="AD" clId="Web-{D926102B-98D7-86CA-A03F-6E22549750D1}" dt="2021-10-20T13:42:42.357" v="876" actId="1076"/>
          <ac:spMkLst>
            <pc:docMk/>
            <pc:sldMk cId="1143917525" sldId="342"/>
            <ac:spMk id="5" creationId="{D815E410-522D-493E-A48B-10AE28E65947}"/>
          </ac:spMkLst>
        </pc:spChg>
        <pc:spChg chg="add mod">
          <ac:chgData name="XingYifan" userId="S::yifan.xing@fs-students.de::ec0b773b-020c-4ca1-9a1f-a4f9c5eab3ae" providerId="AD" clId="Web-{D926102B-98D7-86CA-A03F-6E22549750D1}" dt="2021-10-20T13:51:54.385" v="968" actId="14100"/>
          <ac:spMkLst>
            <pc:docMk/>
            <pc:sldMk cId="1143917525" sldId="342"/>
            <ac:spMk id="6" creationId="{3D015DEB-2B43-4767-8820-499CCF0DA55B}"/>
          </ac:spMkLst>
        </pc:spChg>
        <pc:spChg chg="add mod">
          <ac:chgData name="XingYifan" userId="S::yifan.xing@fs-students.de::ec0b773b-020c-4ca1-9a1f-a4f9c5eab3ae" providerId="AD" clId="Web-{D926102B-98D7-86CA-A03F-6E22549750D1}" dt="2021-10-20T13:51:58.479" v="970" actId="1076"/>
          <ac:spMkLst>
            <pc:docMk/>
            <pc:sldMk cId="1143917525" sldId="342"/>
            <ac:spMk id="7" creationId="{AEBC9596-996C-46A3-99DE-1305E8892D2F}"/>
          </ac:spMkLst>
        </pc:spChg>
        <pc:spChg chg="add mod">
          <ac:chgData name="XingYifan" userId="S::yifan.xing@fs-students.de::ec0b773b-020c-4ca1-9a1f-a4f9c5eab3ae" providerId="AD" clId="Web-{D926102B-98D7-86CA-A03F-6E22549750D1}" dt="2021-10-20T13:53:20.996" v="998" actId="1076"/>
          <ac:spMkLst>
            <pc:docMk/>
            <pc:sldMk cId="1143917525" sldId="342"/>
            <ac:spMk id="8" creationId="{E55BA98D-BCF7-4F36-97DE-355B931868F9}"/>
          </ac:spMkLst>
        </pc:spChg>
        <pc:spChg chg="add mod">
          <ac:chgData name="XingYifan" userId="S::yifan.xing@fs-students.de::ec0b773b-020c-4ca1-9a1f-a4f9c5eab3ae" providerId="AD" clId="Web-{D926102B-98D7-86CA-A03F-6E22549750D1}" dt="2021-10-20T13:52:24.635" v="989" actId="1076"/>
          <ac:spMkLst>
            <pc:docMk/>
            <pc:sldMk cId="1143917525" sldId="342"/>
            <ac:spMk id="9" creationId="{9584AD82-7CA9-46FE-8856-1850622B0005}"/>
          </ac:spMkLst>
        </pc:spChg>
        <pc:spChg chg="add mod">
          <ac:chgData name="XingYifan" userId="S::yifan.xing@fs-students.de::ec0b773b-020c-4ca1-9a1f-a4f9c5eab3ae" providerId="AD" clId="Web-{D926102B-98D7-86CA-A03F-6E22549750D1}" dt="2021-10-20T13:53:10.621" v="996" actId="1076"/>
          <ac:spMkLst>
            <pc:docMk/>
            <pc:sldMk cId="1143917525" sldId="342"/>
            <ac:spMk id="10" creationId="{003CF433-F8CB-497E-B83B-4CA521E5C543}"/>
          </ac:spMkLst>
        </pc:spChg>
        <pc:spChg chg="mod">
          <ac:chgData name="XingYifan" userId="S::yifan.xing@fs-students.de::ec0b773b-020c-4ca1-9a1f-a4f9c5eab3ae" providerId="AD" clId="Web-{D926102B-98D7-86CA-A03F-6E22549750D1}" dt="2021-10-20T13:25:31.990" v="152" actId="20577"/>
          <ac:spMkLst>
            <pc:docMk/>
            <pc:sldMk cId="1143917525" sldId="342"/>
            <ac:spMk id="13" creationId="{CD12F295-986B-49B3-B714-7B35CD80CF04}"/>
          </ac:spMkLst>
        </pc:spChg>
        <pc:spChg chg="mod">
          <ac:chgData name="XingYifan" userId="S::yifan.xing@fs-students.de::ec0b773b-020c-4ca1-9a1f-a4f9c5eab3ae" providerId="AD" clId="Web-{D926102B-98D7-86CA-A03F-6E22549750D1}" dt="2021-10-20T13:52:00.619" v="971" actId="1076"/>
          <ac:spMkLst>
            <pc:docMk/>
            <pc:sldMk cId="1143917525" sldId="342"/>
            <ac:spMk id="14" creationId="{31744EF3-C828-48AA-BBF7-92432F99DAD3}"/>
          </ac:spMkLst>
        </pc:spChg>
        <pc:spChg chg="del mod">
          <ac:chgData name="XingYifan" userId="S::yifan.xing@fs-students.de::ec0b773b-020c-4ca1-9a1f-a4f9c5eab3ae" providerId="AD" clId="Web-{D926102B-98D7-86CA-A03F-6E22549750D1}" dt="2021-10-20T13:16:22.290" v="21"/>
          <ac:spMkLst>
            <pc:docMk/>
            <pc:sldMk cId="1143917525" sldId="342"/>
            <ac:spMk id="16" creationId="{05D73FA5-9537-4039-87BF-C409ECD6749A}"/>
          </ac:spMkLst>
        </pc:spChg>
        <pc:spChg chg="del mod">
          <ac:chgData name="XingYifan" userId="S::yifan.xing@fs-students.de::ec0b773b-020c-4ca1-9a1f-a4f9c5eab3ae" providerId="AD" clId="Web-{D926102B-98D7-86CA-A03F-6E22549750D1}" dt="2021-10-20T13:24:41.239" v="139"/>
          <ac:spMkLst>
            <pc:docMk/>
            <pc:sldMk cId="1143917525" sldId="342"/>
            <ac:spMk id="17" creationId="{0C56489D-010C-45A9-A770-61A32601ADFB}"/>
          </ac:spMkLst>
        </pc:spChg>
        <pc:picChg chg="add mod">
          <ac:chgData name="XingYifan" userId="S::yifan.xing@fs-students.de::ec0b773b-020c-4ca1-9a1f-a4f9c5eab3ae" providerId="AD" clId="Web-{D926102B-98D7-86CA-A03F-6E22549750D1}" dt="2021-10-20T13:53:32.528" v="1000" actId="1076"/>
          <ac:picMkLst>
            <pc:docMk/>
            <pc:sldMk cId="1143917525" sldId="342"/>
            <ac:picMk id="3" creationId="{BA117ADF-E926-4E94-B21D-87B09E7C46EB}"/>
          </ac:picMkLst>
        </pc:picChg>
        <pc:picChg chg="add mod">
          <ac:chgData name="XingYifan" userId="S::yifan.xing@fs-students.de::ec0b773b-020c-4ca1-9a1f-a4f9c5eab3ae" providerId="AD" clId="Web-{D926102B-98D7-86CA-A03F-6E22549750D1}" dt="2021-10-20T13:53:31.356" v="999" actId="1076"/>
          <ac:picMkLst>
            <pc:docMk/>
            <pc:sldMk cId="1143917525" sldId="342"/>
            <ac:picMk id="4" creationId="{517DAA61-96E8-4B86-9363-1501DABC4301}"/>
          </ac:picMkLst>
        </pc:picChg>
        <pc:cxnChg chg="mod">
          <ac:chgData name="XingYifan" userId="S::yifan.xing@fs-students.de::ec0b773b-020c-4ca1-9a1f-a4f9c5eab3ae" providerId="AD" clId="Web-{D926102B-98D7-86CA-A03F-6E22549750D1}" dt="2021-10-20T13:15:12.585" v="7" actId="1076"/>
          <ac:cxnSpMkLst>
            <pc:docMk/>
            <pc:sldMk cId="1143917525" sldId="342"/>
            <ac:cxnSpMk id="26" creationId="{9BD15C87-E2E8-4EB7-88BC-CE52C784C78C}"/>
          </ac:cxnSpMkLst>
        </pc:cxnChg>
      </pc:sldChg>
      <pc:sldChg chg="delSp modSp">
        <pc:chgData name="XingYifan" userId="S::yifan.xing@fs-students.de::ec0b773b-020c-4ca1-9a1f-a4f9c5eab3ae" providerId="AD" clId="Web-{D926102B-98D7-86CA-A03F-6E22549750D1}" dt="2021-10-20T14:10:48.473" v="1043"/>
        <pc:sldMkLst>
          <pc:docMk/>
          <pc:sldMk cId="517890207" sldId="343"/>
        </pc:sldMkLst>
        <pc:spChg chg="mod">
          <ac:chgData name="XingYifan" userId="S::yifan.xing@fs-students.de::ec0b773b-020c-4ca1-9a1f-a4f9c5eab3ae" providerId="AD" clId="Web-{D926102B-98D7-86CA-A03F-6E22549750D1}" dt="2021-10-20T13:54:34.123" v="1005" actId="20577"/>
          <ac:spMkLst>
            <pc:docMk/>
            <pc:sldMk cId="517890207" sldId="343"/>
            <ac:spMk id="18" creationId="{AE6EA38A-47BD-4DE8-96C6-A86930FAFE3E}"/>
          </ac:spMkLst>
        </pc:spChg>
        <pc:spChg chg="mod">
          <ac:chgData name="XingYifan" userId="S::yifan.xing@fs-students.de::ec0b773b-020c-4ca1-9a1f-a4f9c5eab3ae" providerId="AD" clId="Web-{D926102B-98D7-86CA-A03F-6E22549750D1}" dt="2021-10-20T14:09:01.955" v="1014" actId="20577"/>
          <ac:spMkLst>
            <pc:docMk/>
            <pc:sldMk cId="517890207" sldId="343"/>
            <ac:spMk id="22" creationId="{458E84BE-39C2-4287-B056-DCC3EBB89193}"/>
          </ac:spMkLst>
        </pc:spChg>
        <pc:grpChg chg="del">
          <ac:chgData name="XingYifan" userId="S::yifan.xing@fs-students.de::ec0b773b-020c-4ca1-9a1f-a4f9c5eab3ae" providerId="AD" clId="Web-{D926102B-98D7-86CA-A03F-6E22549750D1}" dt="2021-10-20T14:09:18.642" v="1015"/>
          <ac:grpSpMkLst>
            <pc:docMk/>
            <pc:sldMk cId="517890207" sldId="343"/>
            <ac:grpSpMk id="11" creationId="{8A61AC6F-299E-4C26-AFDF-7A688544FB9C}"/>
          </ac:grpSpMkLst>
        </pc:grpChg>
        <pc:grpChg chg="del">
          <ac:chgData name="XingYifan" userId="S::yifan.xing@fs-students.de::ec0b773b-020c-4ca1-9a1f-a4f9c5eab3ae" providerId="AD" clId="Web-{D926102B-98D7-86CA-A03F-6E22549750D1}" dt="2021-10-20T14:09:47.924" v="1022"/>
          <ac:grpSpMkLst>
            <pc:docMk/>
            <pc:sldMk cId="517890207" sldId="343"/>
            <ac:grpSpMk id="20" creationId="{4F4D05D0-9E8C-4AD6-86D2-D0EAFF52A5D4}"/>
          </ac:grpSpMkLst>
        </pc:grpChg>
        <pc:grpChg chg="del mod">
          <ac:chgData name="XingYifan" userId="S::yifan.xing@fs-students.de::ec0b773b-020c-4ca1-9a1f-a4f9c5eab3ae" providerId="AD" clId="Web-{D926102B-98D7-86CA-A03F-6E22549750D1}" dt="2021-10-20T14:10:48.473" v="1043"/>
          <ac:grpSpMkLst>
            <pc:docMk/>
            <pc:sldMk cId="517890207" sldId="343"/>
            <ac:grpSpMk id="24" creationId="{AB398F85-3DB2-4D6D-A5E0-8EED0ECF5DAA}"/>
          </ac:grpSpMkLst>
        </pc:grpChg>
      </pc:sldChg>
      <pc:sldChg chg="addSp delSp modSp">
        <pc:chgData name="XingYifan" userId="S::yifan.xing@fs-students.de::ec0b773b-020c-4ca1-9a1f-a4f9c5eab3ae" providerId="AD" clId="Web-{D926102B-98D7-86CA-A03F-6E22549750D1}" dt="2021-10-20T14:13:02.163" v="1083" actId="1076"/>
        <pc:sldMkLst>
          <pc:docMk/>
          <pc:sldMk cId="217499512" sldId="344"/>
        </pc:sldMkLst>
        <pc:spChg chg="add">
          <ac:chgData name="XingYifan" userId="S::yifan.xing@fs-students.de::ec0b773b-020c-4ca1-9a1f-a4f9c5eab3ae" providerId="AD" clId="Web-{D926102B-98D7-86CA-A03F-6E22549750D1}" dt="2021-10-20T14:09:20.767" v="1016"/>
          <ac:spMkLst>
            <pc:docMk/>
            <pc:sldMk cId="217499512" sldId="344"/>
            <ac:spMk id="19" creationId="{C5FBC8A1-9A83-413A-AE0C-5AC5EE4E2707}"/>
          </ac:spMkLst>
        </pc:spChg>
        <pc:spChg chg="add">
          <ac:chgData name="XingYifan" userId="S::yifan.xing@fs-students.de::ec0b773b-020c-4ca1-9a1f-a4f9c5eab3ae" providerId="AD" clId="Web-{D926102B-98D7-86CA-A03F-6E22549750D1}" dt="2021-10-20T14:09:20.767" v="1016"/>
          <ac:spMkLst>
            <pc:docMk/>
            <pc:sldMk cId="217499512" sldId="344"/>
            <ac:spMk id="20" creationId="{207DF35D-A048-4302-AA1A-422C8DDB4E8A}"/>
          </ac:spMkLst>
        </pc:spChg>
        <pc:spChg chg="add">
          <ac:chgData name="XingYifan" userId="S::yifan.xing@fs-students.de::ec0b773b-020c-4ca1-9a1f-a4f9c5eab3ae" providerId="AD" clId="Web-{D926102B-98D7-86CA-A03F-6E22549750D1}" dt="2021-10-20T14:09:20.767" v="1016"/>
          <ac:spMkLst>
            <pc:docMk/>
            <pc:sldMk cId="217499512" sldId="344"/>
            <ac:spMk id="21" creationId="{C113B1E4-5CB2-4270-A48C-35E064386323}"/>
          </ac:spMkLst>
        </pc:spChg>
        <pc:spChg chg="add">
          <ac:chgData name="XingYifan" userId="S::yifan.xing@fs-students.de::ec0b773b-020c-4ca1-9a1f-a4f9c5eab3ae" providerId="AD" clId="Web-{D926102B-98D7-86CA-A03F-6E22549750D1}" dt="2021-10-20T14:09:22.924" v="1017"/>
          <ac:spMkLst>
            <pc:docMk/>
            <pc:sldMk cId="217499512" sldId="344"/>
            <ac:spMk id="23" creationId="{C5FBC8A1-9A83-413A-AE0C-5AC5EE4E2707}"/>
          </ac:spMkLst>
        </pc:spChg>
        <pc:spChg chg="add mod">
          <ac:chgData name="XingYifan" userId="S::yifan.xing@fs-students.de::ec0b773b-020c-4ca1-9a1f-a4f9c5eab3ae" providerId="AD" clId="Web-{D926102B-98D7-86CA-A03F-6E22549750D1}" dt="2021-10-20T14:11:20.067" v="1054" actId="20577"/>
          <ac:spMkLst>
            <pc:docMk/>
            <pc:sldMk cId="217499512" sldId="344"/>
            <ac:spMk id="24" creationId="{207DF35D-A048-4302-AA1A-422C8DDB4E8A}"/>
          </ac:spMkLst>
        </pc:spChg>
        <pc:spChg chg="add">
          <ac:chgData name="XingYifan" userId="S::yifan.xing@fs-students.de::ec0b773b-020c-4ca1-9a1f-a4f9c5eab3ae" providerId="AD" clId="Web-{D926102B-98D7-86CA-A03F-6E22549750D1}" dt="2021-10-20T14:09:22.924" v="1017"/>
          <ac:spMkLst>
            <pc:docMk/>
            <pc:sldMk cId="217499512" sldId="344"/>
            <ac:spMk id="25" creationId="{C113B1E4-5CB2-4270-A48C-35E064386323}"/>
          </ac:spMkLst>
        </pc:spChg>
        <pc:spChg chg="mod">
          <ac:chgData name="XingYifan" userId="S::yifan.xing@fs-students.de::ec0b773b-020c-4ca1-9a1f-a4f9c5eab3ae" providerId="AD" clId="Web-{D926102B-98D7-86CA-A03F-6E22549750D1}" dt="2021-10-20T13:50:44.586" v="953" actId="20577"/>
          <ac:spMkLst>
            <pc:docMk/>
            <pc:sldMk cId="217499512" sldId="344"/>
            <ac:spMk id="27" creationId="{D8347513-A5B4-4702-A29B-02400BEED4FF}"/>
          </ac:spMkLst>
        </pc:spChg>
        <pc:spChg chg="add">
          <ac:chgData name="XingYifan" userId="S::yifan.xing@fs-students.de::ec0b773b-020c-4ca1-9a1f-a4f9c5eab3ae" providerId="AD" clId="Web-{D926102B-98D7-86CA-A03F-6E22549750D1}" dt="2021-10-20T14:09:49.737" v="1023"/>
          <ac:spMkLst>
            <pc:docMk/>
            <pc:sldMk cId="217499512" sldId="344"/>
            <ac:spMk id="30" creationId="{41607CA0-E30C-4B96-927C-38E34396679E}"/>
          </ac:spMkLst>
        </pc:spChg>
        <pc:spChg chg="add">
          <ac:chgData name="XingYifan" userId="S::yifan.xing@fs-students.de::ec0b773b-020c-4ca1-9a1f-a4f9c5eab3ae" providerId="AD" clId="Web-{D926102B-98D7-86CA-A03F-6E22549750D1}" dt="2021-10-20T14:09:49.737" v="1023"/>
          <ac:spMkLst>
            <pc:docMk/>
            <pc:sldMk cId="217499512" sldId="344"/>
            <ac:spMk id="31" creationId="{405E5574-1CEC-4B5C-A591-49CB1CC75951}"/>
          </ac:spMkLst>
        </pc:spChg>
        <pc:spChg chg="add">
          <ac:chgData name="XingYifan" userId="S::yifan.xing@fs-students.de::ec0b773b-020c-4ca1-9a1f-a4f9c5eab3ae" providerId="AD" clId="Web-{D926102B-98D7-86CA-A03F-6E22549750D1}" dt="2021-10-20T14:09:49.737" v="1023"/>
          <ac:spMkLst>
            <pc:docMk/>
            <pc:sldMk cId="217499512" sldId="344"/>
            <ac:spMk id="32" creationId="{62D3A3F3-0401-46C0-9028-6637906F260A}"/>
          </ac:spMkLst>
        </pc:spChg>
        <pc:spChg chg="mod">
          <ac:chgData name="XingYifan" userId="S::yifan.xing@fs-students.de::ec0b773b-020c-4ca1-9a1f-a4f9c5eab3ae" providerId="AD" clId="Web-{D926102B-98D7-86CA-A03F-6E22549750D1}" dt="2021-10-20T14:12:15.381" v="1069" actId="1076"/>
          <ac:spMkLst>
            <pc:docMk/>
            <pc:sldMk cId="217499512" sldId="344"/>
            <ac:spMk id="34" creationId="{657BF9F5-9031-48D8-9838-145EBA323B47}"/>
          </ac:spMkLst>
        </pc:spChg>
        <pc:spChg chg="mod">
          <ac:chgData name="XingYifan" userId="S::yifan.xing@fs-students.de::ec0b773b-020c-4ca1-9a1f-a4f9c5eab3ae" providerId="AD" clId="Web-{D926102B-98D7-86CA-A03F-6E22549750D1}" dt="2021-10-20T13:50:48.539" v="958" actId="20577"/>
          <ac:spMkLst>
            <pc:docMk/>
            <pc:sldMk cId="217499512" sldId="344"/>
            <ac:spMk id="35" creationId="{B8D8B68E-76F8-44F3-9285-5000B68FA1F9}"/>
          </ac:spMkLst>
        </pc:spChg>
        <pc:spChg chg="mod">
          <ac:chgData name="XingYifan" userId="S::yifan.xing@fs-students.de::ec0b773b-020c-4ca1-9a1f-a4f9c5eab3ae" providerId="AD" clId="Web-{D926102B-98D7-86CA-A03F-6E22549750D1}" dt="2021-10-20T14:12:00.318" v="1065" actId="1076"/>
          <ac:spMkLst>
            <pc:docMk/>
            <pc:sldMk cId="217499512" sldId="344"/>
            <ac:spMk id="36" creationId="{BF29094A-BDA0-4DF6-A651-47A82CE43703}"/>
          </ac:spMkLst>
        </pc:spChg>
        <pc:spChg chg="mod">
          <ac:chgData name="XingYifan" userId="S::yifan.xing@fs-students.de::ec0b773b-020c-4ca1-9a1f-a4f9c5eab3ae" providerId="AD" clId="Web-{D926102B-98D7-86CA-A03F-6E22549750D1}" dt="2021-10-20T14:12:43.491" v="1079" actId="14100"/>
          <ac:spMkLst>
            <pc:docMk/>
            <pc:sldMk cId="217499512" sldId="344"/>
            <ac:spMk id="39" creationId="{30CBC354-CE7C-4F4E-A16C-C59DC1F09E91}"/>
          </ac:spMkLst>
        </pc:spChg>
        <pc:spChg chg="add">
          <ac:chgData name="XingYifan" userId="S::yifan.xing@fs-students.de::ec0b773b-020c-4ca1-9a1f-a4f9c5eab3ae" providerId="AD" clId="Web-{D926102B-98D7-86CA-A03F-6E22549750D1}" dt="2021-10-20T14:09:52.471" v="1024"/>
          <ac:spMkLst>
            <pc:docMk/>
            <pc:sldMk cId="217499512" sldId="344"/>
            <ac:spMk id="44" creationId="{41607CA0-E30C-4B96-927C-38E34396679E}"/>
          </ac:spMkLst>
        </pc:spChg>
        <pc:spChg chg="add mod">
          <ac:chgData name="XingYifan" userId="S::yifan.xing@fs-students.de::ec0b773b-020c-4ca1-9a1f-a4f9c5eab3ae" providerId="AD" clId="Web-{D926102B-98D7-86CA-A03F-6E22549750D1}" dt="2021-10-20T14:11:40.896" v="1060" actId="20577"/>
          <ac:spMkLst>
            <pc:docMk/>
            <pc:sldMk cId="217499512" sldId="344"/>
            <ac:spMk id="45" creationId="{405E5574-1CEC-4B5C-A591-49CB1CC75951}"/>
          </ac:spMkLst>
        </pc:spChg>
        <pc:spChg chg="add mod">
          <ac:chgData name="XingYifan" userId="S::yifan.xing@fs-students.de::ec0b773b-020c-4ca1-9a1f-a4f9c5eab3ae" providerId="AD" clId="Web-{D926102B-98D7-86CA-A03F-6E22549750D1}" dt="2021-10-20T14:11:43.958" v="1061" actId="1076"/>
          <ac:spMkLst>
            <pc:docMk/>
            <pc:sldMk cId="217499512" sldId="344"/>
            <ac:spMk id="46" creationId="{62D3A3F3-0401-46C0-9028-6637906F260A}"/>
          </ac:spMkLst>
        </pc:spChg>
        <pc:spChg chg="add">
          <ac:chgData name="XingYifan" userId="S::yifan.xing@fs-students.de::ec0b773b-020c-4ca1-9a1f-a4f9c5eab3ae" providerId="AD" clId="Web-{D926102B-98D7-86CA-A03F-6E22549750D1}" dt="2021-10-20T14:10:50.566" v="1044"/>
          <ac:spMkLst>
            <pc:docMk/>
            <pc:sldMk cId="217499512" sldId="344"/>
            <ac:spMk id="48" creationId="{04E374C7-CD5C-49D4-8C42-5635D88BDFCB}"/>
          </ac:spMkLst>
        </pc:spChg>
        <pc:spChg chg="add mod">
          <ac:chgData name="XingYifan" userId="S::yifan.xing@fs-students.de::ec0b773b-020c-4ca1-9a1f-a4f9c5eab3ae" providerId="AD" clId="Web-{D926102B-98D7-86CA-A03F-6E22549750D1}" dt="2021-10-20T14:12:55.663" v="1082" actId="20577"/>
          <ac:spMkLst>
            <pc:docMk/>
            <pc:sldMk cId="217499512" sldId="344"/>
            <ac:spMk id="49" creationId="{DDB71329-2213-44AB-8224-FC6F49247198}"/>
          </ac:spMkLst>
        </pc:spChg>
        <pc:spChg chg="add">
          <ac:chgData name="XingYifan" userId="S::yifan.xing@fs-students.de::ec0b773b-020c-4ca1-9a1f-a4f9c5eab3ae" providerId="AD" clId="Web-{D926102B-98D7-86CA-A03F-6E22549750D1}" dt="2021-10-20T14:10:50.566" v="1044"/>
          <ac:spMkLst>
            <pc:docMk/>
            <pc:sldMk cId="217499512" sldId="344"/>
            <ac:spMk id="50" creationId="{7B5B4D70-CE12-494F-9727-9AE2E7ADF09E}"/>
          </ac:spMkLst>
        </pc:spChg>
        <pc:grpChg chg="mod">
          <ac:chgData name="XingYifan" userId="S::yifan.xing@fs-students.de::ec0b773b-020c-4ca1-9a1f-a4f9c5eab3ae" providerId="AD" clId="Web-{D926102B-98D7-86CA-A03F-6E22549750D1}" dt="2021-10-20T14:10:59.395" v="1046" actId="1076"/>
          <ac:grpSpMkLst>
            <pc:docMk/>
            <pc:sldMk cId="217499512" sldId="344"/>
            <ac:grpSpMk id="17" creationId="{FDEBFA9C-382D-4451-953D-299183196481}"/>
          </ac:grpSpMkLst>
        </pc:grpChg>
        <pc:grpChg chg="add del mod">
          <ac:chgData name="XingYifan" userId="S::yifan.xing@fs-students.de::ec0b773b-020c-4ca1-9a1f-a4f9c5eab3ae" providerId="AD" clId="Web-{D926102B-98D7-86CA-A03F-6E22549750D1}" dt="2021-10-20T14:09:33.533" v="1020"/>
          <ac:grpSpMkLst>
            <pc:docMk/>
            <pc:sldMk cId="217499512" sldId="344"/>
            <ac:grpSpMk id="18" creationId="{84585F9B-7936-4D30-B193-C210AA369C8A}"/>
          </ac:grpSpMkLst>
        </pc:grpChg>
        <pc:grpChg chg="add mod">
          <ac:chgData name="XingYifan" userId="S::yifan.xing@fs-students.de::ec0b773b-020c-4ca1-9a1f-a4f9c5eab3ae" providerId="AD" clId="Web-{D926102B-98D7-86CA-A03F-6E22549750D1}" dt="2021-10-20T14:11:27.598" v="1055" actId="1076"/>
          <ac:grpSpMkLst>
            <pc:docMk/>
            <pc:sldMk cId="217499512" sldId="344"/>
            <ac:grpSpMk id="22" creationId="{84585F9B-7936-4D30-B193-C210AA369C8A}"/>
          </ac:grpSpMkLst>
        </pc:grpChg>
        <pc:grpChg chg="add del mod">
          <ac:chgData name="XingYifan" userId="S::yifan.xing@fs-students.de::ec0b773b-020c-4ca1-9a1f-a4f9c5eab3ae" providerId="AD" clId="Web-{D926102B-98D7-86CA-A03F-6E22549750D1}" dt="2021-10-20T14:10:02.768" v="1027"/>
          <ac:grpSpMkLst>
            <pc:docMk/>
            <pc:sldMk cId="217499512" sldId="344"/>
            <ac:grpSpMk id="29" creationId="{F4747727-CD12-451F-A3FA-E5D76515F09D}"/>
          </ac:grpSpMkLst>
        </pc:grpChg>
        <pc:grpChg chg="mod">
          <ac:chgData name="XingYifan" userId="S::yifan.xing@fs-students.de::ec0b773b-020c-4ca1-9a1f-a4f9c5eab3ae" providerId="AD" clId="Web-{D926102B-98D7-86CA-A03F-6E22549750D1}" dt="2021-10-20T14:12:23.022" v="1071" actId="14100"/>
          <ac:grpSpMkLst>
            <pc:docMk/>
            <pc:sldMk cId="217499512" sldId="344"/>
            <ac:grpSpMk id="33" creationId="{75607ECC-D92D-47D3-9196-3B490DE5A029}"/>
          </ac:grpSpMkLst>
        </pc:grpChg>
        <pc:grpChg chg="mod">
          <ac:chgData name="XingYifan" userId="S::yifan.xing@fs-students.de::ec0b773b-020c-4ca1-9a1f-a4f9c5eab3ae" providerId="AD" clId="Web-{D926102B-98D7-86CA-A03F-6E22549750D1}" dt="2021-10-20T14:11:55.349" v="1064" actId="1076"/>
          <ac:grpSpMkLst>
            <pc:docMk/>
            <pc:sldMk cId="217499512" sldId="344"/>
            <ac:grpSpMk id="37" creationId="{D9539805-E57C-48F6-92D4-549831A70B4E}"/>
          </ac:grpSpMkLst>
        </pc:grpChg>
        <pc:grpChg chg="add mod">
          <ac:chgData name="XingYifan" userId="S::yifan.xing@fs-students.de::ec0b773b-020c-4ca1-9a1f-a4f9c5eab3ae" providerId="AD" clId="Web-{D926102B-98D7-86CA-A03F-6E22549750D1}" dt="2021-10-20T14:11:49.130" v="1062" actId="1076"/>
          <ac:grpSpMkLst>
            <pc:docMk/>
            <pc:sldMk cId="217499512" sldId="344"/>
            <ac:grpSpMk id="43" creationId="{F4747727-CD12-451F-A3FA-E5D76515F09D}"/>
          </ac:grpSpMkLst>
        </pc:grpChg>
        <pc:grpChg chg="add mod">
          <ac:chgData name="XingYifan" userId="S::yifan.xing@fs-students.de::ec0b773b-020c-4ca1-9a1f-a4f9c5eab3ae" providerId="AD" clId="Web-{D926102B-98D7-86CA-A03F-6E22549750D1}" dt="2021-10-20T14:13:02.163" v="1083" actId="1076"/>
          <ac:grpSpMkLst>
            <pc:docMk/>
            <pc:sldMk cId="217499512" sldId="344"/>
            <ac:grpSpMk id="47" creationId="{27CFB0E0-0937-4735-8800-72B4CBFA4175}"/>
          </ac:grpSpMkLst>
        </pc:grpChg>
      </pc:sldChg>
      <pc:sldChg chg="addSp delSp modSp add replId">
        <pc:chgData name="XingYifan" userId="S::yifan.xing@fs-students.de::ec0b773b-020c-4ca1-9a1f-a4f9c5eab3ae" providerId="AD" clId="Web-{D926102B-98D7-86CA-A03F-6E22549750D1}" dt="2021-10-20T13:52:46.198" v="993" actId="1076"/>
        <pc:sldMkLst>
          <pc:docMk/>
          <pc:sldMk cId="33160058" sldId="346"/>
        </pc:sldMkLst>
        <pc:spChg chg="add mod">
          <ac:chgData name="XingYifan" userId="S::yifan.xing@fs-students.de::ec0b773b-020c-4ca1-9a1f-a4f9c5eab3ae" providerId="AD" clId="Web-{D926102B-98D7-86CA-A03F-6E22549750D1}" dt="2021-10-20T13:39:23.243" v="707" actId="1076"/>
          <ac:spMkLst>
            <pc:docMk/>
            <pc:sldMk cId="33160058" sldId="346"/>
            <ac:spMk id="6" creationId="{5AE7CAE0-DC44-43B7-9A64-B872E86A6BFF}"/>
          </ac:spMkLst>
        </pc:spChg>
        <pc:spChg chg="add mod">
          <ac:chgData name="XingYifan" userId="S::yifan.xing@fs-students.de::ec0b773b-020c-4ca1-9a1f-a4f9c5eab3ae" providerId="AD" clId="Web-{D926102B-98D7-86CA-A03F-6E22549750D1}" dt="2021-10-20T13:39:49.478" v="718" actId="1076"/>
          <ac:spMkLst>
            <pc:docMk/>
            <pc:sldMk cId="33160058" sldId="346"/>
            <ac:spMk id="7" creationId="{88F19FD2-F2ED-4223-A3E2-D0AE564456F4}"/>
          </ac:spMkLst>
        </pc:spChg>
        <pc:spChg chg="add mod">
          <ac:chgData name="XingYifan" userId="S::yifan.xing@fs-students.de::ec0b773b-020c-4ca1-9a1f-a4f9c5eab3ae" providerId="AD" clId="Web-{D926102B-98D7-86CA-A03F-6E22549750D1}" dt="2021-10-20T13:39:53.150" v="719" actId="1076"/>
          <ac:spMkLst>
            <pc:docMk/>
            <pc:sldMk cId="33160058" sldId="346"/>
            <ac:spMk id="11" creationId="{2D33E563-0E59-4EEF-9650-0DB8BDCE5A57}"/>
          </ac:spMkLst>
        </pc:spChg>
        <pc:spChg chg="mod">
          <ac:chgData name="XingYifan" userId="S::yifan.xing@fs-students.de::ec0b773b-020c-4ca1-9a1f-a4f9c5eab3ae" providerId="AD" clId="Web-{D926102B-98D7-86CA-A03F-6E22549750D1}" dt="2021-10-20T13:32:46.328" v="429" actId="20577"/>
          <ac:spMkLst>
            <pc:docMk/>
            <pc:sldMk cId="33160058" sldId="346"/>
            <ac:spMk id="13" creationId="{CD12F295-986B-49B3-B714-7B35CD80CF04}"/>
          </ac:spMkLst>
        </pc:spChg>
        <pc:spChg chg="del">
          <ac:chgData name="XingYifan" userId="S::yifan.xing@fs-students.de::ec0b773b-020c-4ca1-9a1f-a4f9c5eab3ae" providerId="AD" clId="Web-{D926102B-98D7-86CA-A03F-6E22549750D1}" dt="2021-10-20T13:16:13.368" v="18"/>
          <ac:spMkLst>
            <pc:docMk/>
            <pc:sldMk cId="33160058" sldId="346"/>
            <ac:spMk id="14" creationId="{31744EF3-C828-48AA-BBF7-92432F99DAD3}"/>
          </ac:spMkLst>
        </pc:spChg>
        <pc:spChg chg="add del mod">
          <ac:chgData name="XingYifan" userId="S::yifan.xing@fs-students.de::ec0b773b-020c-4ca1-9a1f-a4f9c5eab3ae" providerId="AD" clId="Web-{D926102B-98D7-86CA-A03F-6E22549750D1}" dt="2021-10-20T13:40:36.760" v="771"/>
          <ac:spMkLst>
            <pc:docMk/>
            <pc:sldMk cId="33160058" sldId="346"/>
            <ac:spMk id="15" creationId="{C4B77B6C-8296-4A89-827A-75BC6F68AE53}"/>
          </ac:spMkLst>
        </pc:spChg>
        <pc:spChg chg="del">
          <ac:chgData name="XingYifan" userId="S::yifan.xing@fs-students.de::ec0b773b-020c-4ca1-9a1f-a4f9c5eab3ae" providerId="AD" clId="Web-{D926102B-98D7-86CA-A03F-6E22549750D1}" dt="2021-10-20T13:16:15.181" v="19"/>
          <ac:spMkLst>
            <pc:docMk/>
            <pc:sldMk cId="33160058" sldId="346"/>
            <ac:spMk id="16" creationId="{05D73FA5-9537-4039-87BF-C409ECD6749A}"/>
          </ac:spMkLst>
        </pc:spChg>
        <pc:spChg chg="del">
          <ac:chgData name="XingYifan" userId="S::yifan.xing@fs-students.de::ec0b773b-020c-4ca1-9a1f-a4f9c5eab3ae" providerId="AD" clId="Web-{D926102B-98D7-86CA-A03F-6E22549750D1}" dt="2021-10-20T13:16:17.384" v="20"/>
          <ac:spMkLst>
            <pc:docMk/>
            <pc:sldMk cId="33160058" sldId="346"/>
            <ac:spMk id="17" creationId="{0C56489D-010C-45A9-A770-61A32601ADFB}"/>
          </ac:spMkLst>
        </pc:spChg>
        <pc:spChg chg="add mod">
          <ac:chgData name="XingYifan" userId="S::yifan.xing@fs-students.de::ec0b773b-020c-4ca1-9a1f-a4f9c5eab3ae" providerId="AD" clId="Web-{D926102B-98D7-86CA-A03F-6E22549750D1}" dt="2021-10-20T13:39:25.852" v="708" actId="1076"/>
          <ac:spMkLst>
            <pc:docMk/>
            <pc:sldMk cId="33160058" sldId="346"/>
            <ac:spMk id="18" creationId="{0B311DF9-5F6C-4AB0-BC6F-848E19FF9907}"/>
          </ac:spMkLst>
        </pc:spChg>
        <pc:spChg chg="add mod">
          <ac:chgData name="XingYifan" userId="S::yifan.xing@fs-students.de::ec0b773b-020c-4ca1-9a1f-a4f9c5eab3ae" providerId="AD" clId="Web-{D926102B-98D7-86CA-A03F-6E22549750D1}" dt="2021-10-20T13:39:36.556" v="712" actId="1076"/>
          <ac:spMkLst>
            <pc:docMk/>
            <pc:sldMk cId="33160058" sldId="346"/>
            <ac:spMk id="19" creationId="{BA455746-F249-49E6-A8B2-F512A6A9E045}"/>
          </ac:spMkLst>
        </pc:spChg>
        <pc:spChg chg="add mod">
          <ac:chgData name="XingYifan" userId="S::yifan.xing@fs-students.de::ec0b773b-020c-4ca1-9a1f-a4f9c5eab3ae" providerId="AD" clId="Web-{D926102B-98D7-86CA-A03F-6E22549750D1}" dt="2021-10-20T13:39:32.087" v="710" actId="1076"/>
          <ac:spMkLst>
            <pc:docMk/>
            <pc:sldMk cId="33160058" sldId="346"/>
            <ac:spMk id="20" creationId="{E147AA44-CD2B-404C-A5B1-91B1CA178545}"/>
          </ac:spMkLst>
        </pc:spChg>
        <pc:spChg chg="add mod">
          <ac:chgData name="XingYifan" userId="S::yifan.xing@fs-students.de::ec0b773b-020c-4ca1-9a1f-a4f9c5eab3ae" providerId="AD" clId="Web-{D926102B-98D7-86CA-A03F-6E22549750D1}" dt="2021-10-20T13:52:46.198" v="993" actId="1076"/>
          <ac:spMkLst>
            <pc:docMk/>
            <pc:sldMk cId="33160058" sldId="346"/>
            <ac:spMk id="21" creationId="{1C1D6CBE-E5AA-4C17-BD59-5260C565DD41}"/>
          </ac:spMkLst>
        </pc:spChg>
        <pc:picChg chg="add mod">
          <ac:chgData name="XingYifan" userId="S::yifan.xing@fs-students.de::ec0b773b-020c-4ca1-9a1f-a4f9c5eab3ae" providerId="AD" clId="Web-{D926102B-98D7-86CA-A03F-6E22549750D1}" dt="2021-10-20T13:39:27.696" v="709" actId="1076"/>
          <ac:picMkLst>
            <pc:docMk/>
            <pc:sldMk cId="33160058" sldId="346"/>
            <ac:picMk id="3" creationId="{65B3EABE-95B7-4CF2-9EA9-69D5B0B2242A}"/>
          </ac:picMkLst>
        </pc:picChg>
        <pc:picChg chg="add mod">
          <ac:chgData name="XingYifan" userId="S::yifan.xing@fs-students.de::ec0b773b-020c-4ca1-9a1f-a4f9c5eab3ae" providerId="AD" clId="Web-{D926102B-98D7-86CA-A03F-6E22549750D1}" dt="2021-10-20T13:39:41.743" v="716" actId="1076"/>
          <ac:picMkLst>
            <pc:docMk/>
            <pc:sldMk cId="33160058" sldId="346"/>
            <ac:picMk id="4" creationId="{9318B5CA-5C98-4469-B0F3-9E616B03F5EC}"/>
          </ac:picMkLst>
        </pc:picChg>
        <pc:picChg chg="add mod">
          <ac:chgData name="XingYifan" userId="S::yifan.xing@fs-students.de::ec0b773b-020c-4ca1-9a1f-a4f9c5eab3ae" providerId="AD" clId="Web-{D926102B-98D7-86CA-A03F-6E22549750D1}" dt="2021-10-20T13:39:44.384" v="717" actId="1076"/>
          <ac:picMkLst>
            <pc:docMk/>
            <pc:sldMk cId="33160058" sldId="346"/>
            <ac:picMk id="5" creationId="{58722572-B2A4-4F77-A8AC-B38A6D0531D8}"/>
          </ac:picMkLst>
        </pc:picChg>
      </pc:sldChg>
      <pc:sldChg chg="new del">
        <pc:chgData name="XingYifan" userId="S::yifan.xing@fs-students.de::ec0b773b-020c-4ca1-9a1f-a4f9c5eab3ae" providerId="AD" clId="Web-{D926102B-98D7-86CA-A03F-6E22549750D1}" dt="2021-10-20T13:15:51.399" v="14"/>
        <pc:sldMkLst>
          <pc:docMk/>
          <pc:sldMk cId="1495903127" sldId="346"/>
        </pc:sldMkLst>
      </pc:sldChg>
      <pc:sldChg chg="addSp delSp modSp add replId">
        <pc:chgData name="XingYifan" userId="S::yifan.xing@fs-students.de::ec0b773b-020c-4ca1-9a1f-a4f9c5eab3ae" providerId="AD" clId="Web-{D926102B-98D7-86CA-A03F-6E22549750D1}" dt="2021-10-20T13:43:37.920" v="910" actId="1076"/>
        <pc:sldMkLst>
          <pc:docMk/>
          <pc:sldMk cId="1239690929" sldId="347"/>
        </pc:sldMkLst>
        <pc:spChg chg="add del mod">
          <ac:chgData name="XingYifan" userId="S::yifan.xing@fs-students.de::ec0b773b-020c-4ca1-9a1f-a4f9c5eab3ae" providerId="AD" clId="Web-{D926102B-98D7-86CA-A03F-6E22549750D1}" dt="2021-10-20T13:31:40.483" v="356"/>
          <ac:spMkLst>
            <pc:docMk/>
            <pc:sldMk cId="1239690929" sldId="347"/>
            <ac:spMk id="4" creationId="{A8457017-FBEC-4118-B2CE-555DDB4986E0}"/>
          </ac:spMkLst>
        </pc:spChg>
        <pc:spChg chg="add mod">
          <ac:chgData name="XingYifan" userId="S::yifan.xing@fs-students.de::ec0b773b-020c-4ca1-9a1f-a4f9c5eab3ae" providerId="AD" clId="Web-{D926102B-98D7-86CA-A03F-6E22549750D1}" dt="2021-10-20T13:43:23.889" v="905" actId="1076"/>
          <ac:spMkLst>
            <pc:docMk/>
            <pc:sldMk cId="1239690929" sldId="347"/>
            <ac:spMk id="5" creationId="{3A4D709A-28C8-4230-AE87-CB582FBD5E99}"/>
          </ac:spMkLst>
        </pc:spChg>
        <pc:spChg chg="add mod">
          <ac:chgData name="XingYifan" userId="S::yifan.xing@fs-students.de::ec0b773b-020c-4ca1-9a1f-a4f9c5eab3ae" providerId="AD" clId="Web-{D926102B-98D7-86CA-A03F-6E22549750D1}" dt="2021-10-20T13:43:34.045" v="908" actId="1076"/>
          <ac:spMkLst>
            <pc:docMk/>
            <pc:sldMk cId="1239690929" sldId="347"/>
            <ac:spMk id="10" creationId="{5232BF41-D303-4160-83BD-5BEC247C3907}"/>
          </ac:spMkLst>
        </pc:spChg>
        <pc:spChg chg="add mod">
          <ac:chgData name="XingYifan" userId="S::yifan.xing@fs-students.de::ec0b773b-020c-4ca1-9a1f-a4f9c5eab3ae" providerId="AD" clId="Web-{D926102B-98D7-86CA-A03F-6E22549750D1}" dt="2021-10-20T13:43:36.249" v="909" actId="1076"/>
          <ac:spMkLst>
            <pc:docMk/>
            <pc:sldMk cId="1239690929" sldId="347"/>
            <ac:spMk id="11" creationId="{AD2C1497-08DF-4F7F-B9BC-8C4E11BA34B3}"/>
          </ac:spMkLst>
        </pc:spChg>
        <pc:spChg chg="mod">
          <ac:chgData name="XingYifan" userId="S::yifan.xing@fs-students.de::ec0b773b-020c-4ca1-9a1f-a4f9c5eab3ae" providerId="AD" clId="Web-{D926102B-98D7-86CA-A03F-6E22549750D1}" dt="2021-10-20T13:30:14.293" v="293" actId="20577"/>
          <ac:spMkLst>
            <pc:docMk/>
            <pc:sldMk cId="1239690929" sldId="347"/>
            <ac:spMk id="13" creationId="{CD12F295-986B-49B3-B714-7B35CD80CF04}"/>
          </ac:spMkLst>
        </pc:spChg>
        <pc:spChg chg="del">
          <ac:chgData name="XingYifan" userId="S::yifan.xing@fs-students.de::ec0b773b-020c-4ca1-9a1f-a4f9c5eab3ae" providerId="AD" clId="Web-{D926102B-98D7-86CA-A03F-6E22549750D1}" dt="2021-10-20T13:21:51.766" v="96"/>
          <ac:spMkLst>
            <pc:docMk/>
            <pc:sldMk cId="1239690929" sldId="347"/>
            <ac:spMk id="14" creationId="{31744EF3-C828-48AA-BBF7-92432F99DAD3}"/>
          </ac:spMkLst>
        </pc:spChg>
        <pc:spChg chg="add del mod">
          <ac:chgData name="XingYifan" userId="S::yifan.xing@fs-students.de::ec0b773b-020c-4ca1-9a1f-a4f9c5eab3ae" providerId="AD" clId="Web-{D926102B-98D7-86CA-A03F-6E22549750D1}" dt="2021-10-20T13:22:19.158" v="105"/>
          <ac:spMkLst>
            <pc:docMk/>
            <pc:sldMk cId="1239690929" sldId="347"/>
            <ac:spMk id="15" creationId="{AD2C1497-08DF-4F7F-B9BC-8C4E11BA34B3}"/>
          </ac:spMkLst>
        </pc:spChg>
        <pc:spChg chg="add mod">
          <ac:chgData name="XingYifan" userId="S::yifan.xing@fs-students.de::ec0b773b-020c-4ca1-9a1f-a4f9c5eab3ae" providerId="AD" clId="Web-{D926102B-98D7-86CA-A03F-6E22549750D1}" dt="2021-10-20T13:41:15.745" v="803" actId="1076"/>
          <ac:spMkLst>
            <pc:docMk/>
            <pc:sldMk cId="1239690929" sldId="347"/>
            <ac:spMk id="16" creationId="{1887BA96-C4C8-4605-924D-7E5D0430C268}"/>
          </ac:spMkLst>
        </pc:spChg>
        <pc:spChg chg="del">
          <ac:chgData name="XingYifan" userId="S::yifan.xing@fs-students.de::ec0b773b-020c-4ca1-9a1f-a4f9c5eab3ae" providerId="AD" clId="Web-{D926102B-98D7-86CA-A03F-6E22549750D1}" dt="2021-10-20T13:21:53.907" v="97"/>
          <ac:spMkLst>
            <pc:docMk/>
            <pc:sldMk cId="1239690929" sldId="347"/>
            <ac:spMk id="17" creationId="{0C56489D-010C-45A9-A770-61A32601ADFB}"/>
          </ac:spMkLst>
        </pc:spChg>
        <pc:picChg chg="add mod">
          <ac:chgData name="XingYifan" userId="S::yifan.xing@fs-students.de::ec0b773b-020c-4ca1-9a1f-a4f9c5eab3ae" providerId="AD" clId="Web-{D926102B-98D7-86CA-A03F-6E22549750D1}" dt="2021-10-20T13:43:37.920" v="910" actId="1076"/>
          <ac:picMkLst>
            <pc:docMk/>
            <pc:sldMk cId="1239690929" sldId="347"/>
            <ac:picMk id="3" creationId="{6CAB3EF7-4F86-4AC4-9CBB-95921472E5EF}"/>
          </ac:picMkLst>
        </pc:picChg>
      </pc:sldChg>
    </pc:docChg>
  </pc:docChgLst>
  <pc:docChgLst>
    <pc:chgData name="Yudi Wang" userId="S::yudi.wang@fs-students.de::d6d3e1ff-7fbc-44f4-bef1-29aa738b3b63" providerId="AD" clId="Web-{5288120D-C143-36DD-E0A0-216AF428356E}"/>
    <pc:docChg chg="modSld">
      <pc:chgData name="Yudi Wang" userId="S::yudi.wang@fs-students.de::d6d3e1ff-7fbc-44f4-bef1-29aa738b3b63" providerId="AD" clId="Web-{5288120D-C143-36DD-E0A0-216AF428356E}" dt="2021-10-19T12:55:50.173" v="861" actId="20577"/>
      <pc:docMkLst>
        <pc:docMk/>
      </pc:docMkLst>
      <pc:sldChg chg="modSp">
        <pc:chgData name="Yudi Wang" userId="S::yudi.wang@fs-students.de::d6d3e1ff-7fbc-44f4-bef1-29aa738b3b63" providerId="AD" clId="Web-{5288120D-C143-36DD-E0A0-216AF428356E}" dt="2021-10-19T12:41:17.306" v="802" actId="20577"/>
        <pc:sldMkLst>
          <pc:docMk/>
          <pc:sldMk cId="3035983278" sldId="260"/>
        </pc:sldMkLst>
        <pc:spChg chg="mod">
          <ac:chgData name="Yudi Wang" userId="S::yudi.wang@fs-students.de::d6d3e1ff-7fbc-44f4-bef1-29aa738b3b63" providerId="AD" clId="Web-{5288120D-C143-36DD-E0A0-216AF428356E}" dt="2021-10-19T12:41:17.306" v="802" actId="20577"/>
          <ac:spMkLst>
            <pc:docMk/>
            <pc:sldMk cId="3035983278" sldId="260"/>
            <ac:spMk id="17" creationId="{688CFC5C-41C5-424B-ABDE-E94206D4CCC3}"/>
          </ac:spMkLst>
        </pc:spChg>
      </pc:sldChg>
      <pc:sldChg chg="modSp">
        <pc:chgData name="Yudi Wang" userId="S::yudi.wang@fs-students.de::d6d3e1ff-7fbc-44f4-bef1-29aa738b3b63" providerId="AD" clId="Web-{5288120D-C143-36DD-E0A0-216AF428356E}" dt="2021-10-19T12:32:27.072" v="784" actId="20577"/>
        <pc:sldMkLst>
          <pc:docMk/>
          <pc:sldMk cId="933643179" sldId="262"/>
        </pc:sldMkLst>
        <pc:spChg chg="mod">
          <ac:chgData name="Yudi Wang" userId="S::yudi.wang@fs-students.de::d6d3e1ff-7fbc-44f4-bef1-29aa738b3b63" providerId="AD" clId="Web-{5288120D-C143-36DD-E0A0-216AF428356E}" dt="2021-10-19T12:32:27.072" v="784" actId="20577"/>
          <ac:spMkLst>
            <pc:docMk/>
            <pc:sldMk cId="933643179" sldId="262"/>
            <ac:spMk id="2" creationId="{C0066270-25A3-492B-B1CD-ADABD7B17E05}"/>
          </ac:spMkLst>
        </pc:spChg>
      </pc:sldChg>
      <pc:sldChg chg="modSp">
        <pc:chgData name="Yudi Wang" userId="S::yudi.wang@fs-students.de::d6d3e1ff-7fbc-44f4-bef1-29aa738b3b63" providerId="AD" clId="Web-{5288120D-C143-36DD-E0A0-216AF428356E}" dt="2021-10-19T12:50:17.305" v="846" actId="20577"/>
        <pc:sldMkLst>
          <pc:docMk/>
          <pc:sldMk cId="983890126" sldId="263"/>
        </pc:sldMkLst>
        <pc:spChg chg="mod">
          <ac:chgData name="Yudi Wang" userId="S::yudi.wang@fs-students.de::d6d3e1ff-7fbc-44f4-bef1-29aa738b3b63" providerId="AD" clId="Web-{5288120D-C143-36DD-E0A0-216AF428356E}" dt="2021-10-19T12:50:17.305" v="846" actId="20577"/>
          <ac:spMkLst>
            <pc:docMk/>
            <pc:sldMk cId="983890126" sldId="263"/>
            <ac:spMk id="5" creationId="{62C9215F-08B3-4E40-8390-1DEB01B0F8D6}"/>
          </ac:spMkLst>
        </pc:spChg>
      </pc:sldChg>
      <pc:sldChg chg="modSp">
        <pc:chgData name="Yudi Wang" userId="S::yudi.wang@fs-students.de::d6d3e1ff-7fbc-44f4-bef1-29aa738b3b63" providerId="AD" clId="Web-{5288120D-C143-36DD-E0A0-216AF428356E}" dt="2021-10-19T12:30:18.085" v="736" actId="20577"/>
        <pc:sldMkLst>
          <pc:docMk/>
          <pc:sldMk cId="942637165" sldId="311"/>
        </pc:sldMkLst>
        <pc:spChg chg="mod">
          <ac:chgData name="Yudi Wang" userId="S::yudi.wang@fs-students.de::d6d3e1ff-7fbc-44f4-bef1-29aa738b3b63" providerId="AD" clId="Web-{5288120D-C143-36DD-E0A0-216AF428356E}" dt="2021-10-19T12:30:18.085" v="736" actId="20577"/>
          <ac:spMkLst>
            <pc:docMk/>
            <pc:sldMk cId="942637165" sldId="311"/>
            <ac:spMk id="13" creationId="{64AA3AAF-CF52-4C62-B10F-9B4FBF0E2EC1}"/>
          </ac:spMkLst>
        </pc:spChg>
      </pc:sldChg>
      <pc:sldChg chg="addSp delSp modSp">
        <pc:chgData name="Yudi Wang" userId="S::yudi.wang@fs-students.de::d6d3e1ff-7fbc-44f4-bef1-29aa738b3b63" providerId="AD" clId="Web-{5288120D-C143-36DD-E0A0-216AF428356E}" dt="2021-10-19T12:43:51.591" v="834" actId="20577"/>
        <pc:sldMkLst>
          <pc:docMk/>
          <pc:sldMk cId="4276621269" sldId="312"/>
        </pc:sldMkLst>
        <pc:spChg chg="mod">
          <ac:chgData name="Yudi Wang" userId="S::yudi.wang@fs-students.de::d6d3e1ff-7fbc-44f4-bef1-29aa738b3b63" providerId="AD" clId="Web-{5288120D-C143-36DD-E0A0-216AF428356E}" dt="2021-10-19T12:43:51.591" v="834" actId="20577"/>
          <ac:spMkLst>
            <pc:docMk/>
            <pc:sldMk cId="4276621269" sldId="312"/>
            <ac:spMk id="8" creationId="{E45C4B50-56CA-4F24-9DAC-E10D7B0E27C4}"/>
          </ac:spMkLst>
        </pc:spChg>
        <pc:picChg chg="del">
          <ac:chgData name="Yudi Wang" userId="S::yudi.wang@fs-students.de::d6d3e1ff-7fbc-44f4-bef1-29aa738b3b63" providerId="AD" clId="Web-{5288120D-C143-36DD-E0A0-216AF428356E}" dt="2021-10-19T11:55:48.654" v="0"/>
          <ac:picMkLst>
            <pc:docMk/>
            <pc:sldMk cId="4276621269" sldId="312"/>
            <ac:picMk id="2" creationId="{52803AD5-E7F8-42FE-A243-5B7C141A14B6}"/>
          </ac:picMkLst>
        </pc:picChg>
        <pc:picChg chg="add mod">
          <ac:chgData name="Yudi Wang" userId="S::yudi.wang@fs-students.de::d6d3e1ff-7fbc-44f4-bef1-29aa738b3b63" providerId="AD" clId="Web-{5288120D-C143-36DD-E0A0-216AF428356E}" dt="2021-10-19T12:09:36.098" v="414" actId="1076"/>
          <ac:picMkLst>
            <pc:docMk/>
            <pc:sldMk cId="4276621269" sldId="312"/>
            <ac:picMk id="7" creationId="{89A3114E-E64B-4F03-8117-991760B5B562}"/>
          </ac:picMkLst>
        </pc:picChg>
        <pc:picChg chg="add mod">
          <ac:chgData name="Yudi Wang" userId="S::yudi.wang@fs-students.de::d6d3e1ff-7fbc-44f4-bef1-29aa738b3b63" providerId="AD" clId="Web-{5288120D-C143-36DD-E0A0-216AF428356E}" dt="2021-10-19T12:09:28.723" v="412" actId="1076"/>
          <ac:picMkLst>
            <pc:docMk/>
            <pc:sldMk cId="4276621269" sldId="312"/>
            <ac:picMk id="9" creationId="{E6236703-7EE1-4872-B9FB-EB91F25ACF63}"/>
          </ac:picMkLst>
        </pc:picChg>
      </pc:sldChg>
      <pc:sldChg chg="addSp delSp modSp">
        <pc:chgData name="Yudi Wang" userId="S::yudi.wang@fs-students.de::d6d3e1ff-7fbc-44f4-bef1-29aa738b3b63" providerId="AD" clId="Web-{5288120D-C143-36DD-E0A0-216AF428356E}" dt="2021-10-19T12:32:11.369" v="768" actId="20577"/>
        <pc:sldMkLst>
          <pc:docMk/>
          <pc:sldMk cId="3426313049" sldId="313"/>
        </pc:sldMkLst>
        <pc:spChg chg="del">
          <ac:chgData name="Yudi Wang" userId="S::yudi.wang@fs-students.de::d6d3e1ff-7fbc-44f4-bef1-29aa738b3b63" providerId="AD" clId="Web-{5288120D-C143-36DD-E0A0-216AF428356E}" dt="2021-10-19T12:31:21.727" v="737"/>
          <ac:spMkLst>
            <pc:docMk/>
            <pc:sldMk cId="3426313049" sldId="313"/>
            <ac:spMk id="3" creationId="{BAAEDDE1-3023-44D9-AA6A-667159C272A7}"/>
          </ac:spMkLst>
        </pc:spChg>
        <pc:spChg chg="add mod">
          <ac:chgData name="Yudi Wang" userId="S::yudi.wang@fs-students.de::d6d3e1ff-7fbc-44f4-bef1-29aa738b3b63" providerId="AD" clId="Web-{5288120D-C143-36DD-E0A0-216AF428356E}" dt="2021-10-19T12:32:11.369" v="768" actId="20577"/>
          <ac:spMkLst>
            <pc:docMk/>
            <pc:sldMk cId="3426313049" sldId="313"/>
            <ac:spMk id="4" creationId="{B6BF43DD-77E7-4B58-8278-E897D0AF2C1F}"/>
          </ac:spMkLst>
        </pc:spChg>
        <pc:spChg chg="mod">
          <ac:chgData name="Yudi Wang" userId="S::yudi.wang@fs-students.de::d6d3e1ff-7fbc-44f4-bef1-29aa738b3b63" providerId="AD" clId="Web-{5288120D-C143-36DD-E0A0-216AF428356E}" dt="2021-10-19T12:10:50.991" v="422" actId="20577"/>
          <ac:spMkLst>
            <pc:docMk/>
            <pc:sldMk cId="3426313049" sldId="313"/>
            <ac:spMk id="6" creationId="{B0698DA7-CCBF-4F25-80A2-209C24DE3F1F}"/>
          </ac:spMkLst>
        </pc:spChg>
      </pc:sldChg>
      <pc:sldChg chg="addSp delSp modSp">
        <pc:chgData name="Yudi Wang" userId="S::yudi.wang@fs-students.de::d6d3e1ff-7fbc-44f4-bef1-29aa738b3b63" providerId="AD" clId="Web-{5288120D-C143-36DD-E0A0-216AF428356E}" dt="2021-10-19T12:55:50.173" v="861" actId="20577"/>
        <pc:sldMkLst>
          <pc:docMk/>
          <pc:sldMk cId="2469131820" sldId="314"/>
        </pc:sldMkLst>
        <pc:spChg chg="add mod">
          <ac:chgData name="Yudi Wang" userId="S::yudi.wang@fs-students.de::d6d3e1ff-7fbc-44f4-bef1-29aa738b3b63" providerId="AD" clId="Web-{5288120D-C143-36DD-E0A0-216AF428356E}" dt="2021-10-19T12:12:13.790" v="442" actId="1076"/>
          <ac:spMkLst>
            <pc:docMk/>
            <pc:sldMk cId="2469131820" sldId="314"/>
            <ac:spMk id="3" creationId="{1842065C-BC47-4FF5-AB38-5B8D13CB44EE}"/>
          </ac:spMkLst>
        </pc:spChg>
        <pc:spChg chg="add mod">
          <ac:chgData name="Yudi Wang" userId="S::yudi.wang@fs-students.de::d6d3e1ff-7fbc-44f4-bef1-29aa738b3b63" providerId="AD" clId="Web-{5288120D-C143-36DD-E0A0-216AF428356E}" dt="2021-10-19T12:44:14.545" v="837" actId="20577"/>
          <ac:spMkLst>
            <pc:docMk/>
            <pc:sldMk cId="2469131820" sldId="314"/>
            <ac:spMk id="4" creationId="{14C27AA5-F23F-4472-8BB5-152DA0709D9D}"/>
          </ac:spMkLst>
        </pc:spChg>
        <pc:spChg chg="add mod">
          <ac:chgData name="Yudi Wang" userId="S::yudi.wang@fs-students.de::d6d3e1ff-7fbc-44f4-bef1-29aa738b3b63" providerId="AD" clId="Web-{5288120D-C143-36DD-E0A0-216AF428356E}" dt="2021-10-19T12:12:23.196" v="444" actId="1076"/>
          <ac:spMkLst>
            <pc:docMk/>
            <pc:sldMk cId="2469131820" sldId="314"/>
            <ac:spMk id="7" creationId="{83860292-1F05-4A57-882B-8A78216F11FF}"/>
          </ac:spMkLst>
        </pc:spChg>
        <pc:spChg chg="add mod">
          <ac:chgData name="Yudi Wang" userId="S::yudi.wang@fs-students.de::d6d3e1ff-7fbc-44f4-bef1-29aa738b3b63" providerId="AD" clId="Web-{5288120D-C143-36DD-E0A0-216AF428356E}" dt="2021-10-19T12:12:28.446" v="445" actId="1076"/>
          <ac:spMkLst>
            <pc:docMk/>
            <pc:sldMk cId="2469131820" sldId="314"/>
            <ac:spMk id="8" creationId="{2E271191-CEBC-4882-B336-F30978B33968}"/>
          </ac:spMkLst>
        </pc:spChg>
        <pc:spChg chg="mod">
          <ac:chgData name="Yudi Wang" userId="S::yudi.wang@fs-students.de::d6d3e1ff-7fbc-44f4-bef1-29aa738b3b63" providerId="AD" clId="Web-{5288120D-C143-36DD-E0A0-216AF428356E}" dt="2021-10-19T12:55:32.235" v="848" actId="1076"/>
          <ac:spMkLst>
            <pc:docMk/>
            <pc:sldMk cId="2469131820" sldId="314"/>
            <ac:spMk id="9" creationId="{FE53DFC1-E809-4964-8447-D19B74AB7A22}"/>
          </ac:spMkLst>
        </pc:spChg>
        <pc:spChg chg="add mod">
          <ac:chgData name="Yudi Wang" userId="S::yudi.wang@fs-students.de::d6d3e1ff-7fbc-44f4-bef1-29aa738b3b63" providerId="AD" clId="Web-{5288120D-C143-36DD-E0A0-216AF428356E}" dt="2021-10-19T12:27:29.533" v="712" actId="1076"/>
          <ac:spMkLst>
            <pc:docMk/>
            <pc:sldMk cId="2469131820" sldId="314"/>
            <ac:spMk id="10" creationId="{629F9040-FB99-4D99-A60D-05B834F42C14}"/>
          </ac:spMkLst>
        </pc:spChg>
        <pc:spChg chg="add del mod">
          <ac:chgData name="Yudi Wang" userId="S::yudi.wang@fs-students.de::d6d3e1ff-7fbc-44f4-bef1-29aa738b3b63" providerId="AD" clId="Web-{5288120D-C143-36DD-E0A0-216AF428356E}" dt="2021-10-19T12:26:40.923" v="696"/>
          <ac:spMkLst>
            <pc:docMk/>
            <pc:sldMk cId="2469131820" sldId="314"/>
            <ac:spMk id="11" creationId="{C99009E2-0711-48C2-BA6F-FA5BC8D75927}"/>
          </ac:spMkLst>
        </pc:spChg>
        <pc:spChg chg="add mod">
          <ac:chgData name="Yudi Wang" userId="S::yudi.wang@fs-students.de::d6d3e1ff-7fbc-44f4-bef1-29aa738b3b63" providerId="AD" clId="Web-{5288120D-C143-36DD-E0A0-216AF428356E}" dt="2021-10-19T12:55:50.173" v="861" actId="20577"/>
          <ac:spMkLst>
            <pc:docMk/>
            <pc:sldMk cId="2469131820" sldId="314"/>
            <ac:spMk id="12" creationId="{50E4282D-0646-40E2-95A5-C91A80FED8A0}"/>
          </ac:spMkLst>
        </pc:spChg>
        <pc:picChg chg="mod">
          <ac:chgData name="Yudi Wang" userId="S::yudi.wang@fs-students.de::d6d3e1ff-7fbc-44f4-bef1-29aa738b3b63" providerId="AD" clId="Web-{5288120D-C143-36DD-E0A0-216AF428356E}" dt="2021-10-19T12:10:21.287" v="421" actId="1076"/>
          <ac:picMkLst>
            <pc:docMk/>
            <pc:sldMk cId="2469131820" sldId="314"/>
            <ac:picMk id="2" creationId="{DBE95054-5A5C-48E9-8E60-3B5EFA744AC8}"/>
          </ac:picMkLst>
        </pc:picChg>
      </pc:sldChg>
      <pc:sldChg chg="addSp modSp">
        <pc:chgData name="Yudi Wang" userId="S::yudi.wang@fs-students.de::d6d3e1ff-7fbc-44f4-bef1-29aa738b3b63" providerId="AD" clId="Web-{5288120D-C143-36DD-E0A0-216AF428356E}" dt="2021-10-19T11:59:00.237" v="142" actId="20577"/>
        <pc:sldMkLst>
          <pc:docMk/>
          <pc:sldMk cId="144855330" sldId="318"/>
        </pc:sldMkLst>
        <pc:spChg chg="mod">
          <ac:chgData name="Yudi Wang" userId="S::yudi.wang@fs-students.de::d6d3e1ff-7fbc-44f4-bef1-29aa738b3b63" providerId="AD" clId="Web-{5288120D-C143-36DD-E0A0-216AF428356E}" dt="2021-10-19T11:58:46.096" v="139" actId="1076"/>
          <ac:spMkLst>
            <pc:docMk/>
            <pc:sldMk cId="144855330" sldId="318"/>
            <ac:spMk id="7" creationId="{D4EB952D-F694-4A05-B6D2-7F0B5AF04036}"/>
          </ac:spMkLst>
        </pc:spChg>
        <pc:spChg chg="add mod">
          <ac:chgData name="Yudi Wang" userId="S::yudi.wang@fs-students.de::d6d3e1ff-7fbc-44f4-bef1-29aa738b3b63" providerId="AD" clId="Web-{5288120D-C143-36DD-E0A0-216AF428356E}" dt="2021-10-19T11:59:00.237" v="142" actId="20577"/>
          <ac:spMkLst>
            <pc:docMk/>
            <pc:sldMk cId="144855330" sldId="318"/>
            <ac:spMk id="9" creationId="{FA8D25B3-D571-4488-A0CF-ADBEC5D6CA7E}"/>
          </ac:spMkLst>
        </pc:spChg>
        <pc:picChg chg="mod">
          <ac:chgData name="Yudi Wang" userId="S::yudi.wang@fs-students.de::d6d3e1ff-7fbc-44f4-bef1-29aa738b3b63" providerId="AD" clId="Web-{5288120D-C143-36DD-E0A0-216AF428356E}" dt="2021-10-19T11:56:01.951" v="5" actId="1076"/>
          <ac:picMkLst>
            <pc:docMk/>
            <pc:sldMk cId="144855330" sldId="318"/>
            <ac:picMk id="2" creationId="{31079D47-E2E7-49C9-A19F-83B80AE784AA}"/>
          </ac:picMkLst>
        </pc:picChg>
        <pc:picChg chg="add mod">
          <ac:chgData name="Yudi Wang" userId="S::yudi.wang@fs-students.de::d6d3e1ff-7fbc-44f4-bef1-29aa738b3b63" providerId="AD" clId="Web-{5288120D-C143-36DD-E0A0-216AF428356E}" dt="2021-10-19T11:57:02.312" v="50" actId="1076"/>
          <ac:picMkLst>
            <pc:docMk/>
            <pc:sldMk cId="144855330" sldId="318"/>
            <ac:picMk id="8" creationId="{BF218F6A-C862-47B7-869B-0920EA021818}"/>
          </ac:picMkLst>
        </pc:picChg>
      </pc:sldChg>
      <pc:sldChg chg="modSp">
        <pc:chgData name="Yudi Wang" userId="S::yudi.wang@fs-students.de::d6d3e1ff-7fbc-44f4-bef1-29aa738b3b63" providerId="AD" clId="Web-{5288120D-C143-36DD-E0A0-216AF428356E}" dt="2021-10-19T12:49:57.820" v="843" actId="1076"/>
        <pc:sldMkLst>
          <pc:docMk/>
          <pc:sldMk cId="59782169" sldId="319"/>
        </pc:sldMkLst>
        <pc:spChg chg="mod">
          <ac:chgData name="Yudi Wang" userId="S::yudi.wang@fs-students.de::d6d3e1ff-7fbc-44f4-bef1-29aa738b3b63" providerId="AD" clId="Web-{5288120D-C143-36DD-E0A0-216AF428356E}" dt="2021-10-19T12:49:57.820" v="843" actId="1076"/>
          <ac:spMkLst>
            <pc:docMk/>
            <pc:sldMk cId="59782169" sldId="319"/>
            <ac:spMk id="27" creationId="{846961D8-61BB-4898-A874-42A487CE975C}"/>
          </ac:spMkLst>
        </pc:spChg>
        <pc:spChg chg="mod">
          <ac:chgData name="Yudi Wang" userId="S::yudi.wang@fs-students.de::d6d3e1ff-7fbc-44f4-bef1-29aa738b3b63" providerId="AD" clId="Web-{5288120D-C143-36DD-E0A0-216AF428356E}" dt="2021-10-19T12:49:53.991" v="842" actId="20577"/>
          <ac:spMkLst>
            <pc:docMk/>
            <pc:sldMk cId="59782169" sldId="319"/>
            <ac:spMk id="29" creationId="{8ABC90B4-DA1C-42D4-A392-AAEFF2D6CF53}"/>
          </ac:spMkLst>
        </pc:spChg>
      </pc:sldChg>
      <pc:sldChg chg="modSp">
        <pc:chgData name="Yudi Wang" userId="S::yudi.wang@fs-students.de::d6d3e1ff-7fbc-44f4-bef1-29aa738b3b63" providerId="AD" clId="Web-{5288120D-C143-36DD-E0A0-216AF428356E}" dt="2021-10-19T12:40:38.039" v="788" actId="20577"/>
        <pc:sldMkLst>
          <pc:docMk/>
          <pc:sldMk cId="265307825" sldId="322"/>
        </pc:sldMkLst>
        <pc:spChg chg="mod">
          <ac:chgData name="Yudi Wang" userId="S::yudi.wang@fs-students.de::d6d3e1ff-7fbc-44f4-bef1-29aa738b3b63" providerId="AD" clId="Web-{5288120D-C143-36DD-E0A0-216AF428356E}" dt="2021-10-19T12:40:27.164" v="787" actId="20577"/>
          <ac:spMkLst>
            <pc:docMk/>
            <pc:sldMk cId="265307825" sldId="322"/>
            <ac:spMk id="6" creationId="{1D38FE4B-EEAA-4E84-8664-0C1DB78425B5}"/>
          </ac:spMkLst>
        </pc:spChg>
        <pc:spChg chg="mod">
          <ac:chgData name="Yudi Wang" userId="S::yudi.wang@fs-students.de::d6d3e1ff-7fbc-44f4-bef1-29aa738b3b63" providerId="AD" clId="Web-{5288120D-C143-36DD-E0A0-216AF428356E}" dt="2021-10-19T12:40:38.039" v="788" actId="20577"/>
          <ac:spMkLst>
            <pc:docMk/>
            <pc:sldMk cId="265307825" sldId="322"/>
            <ac:spMk id="30" creationId="{6EB666A8-EA24-4A32-B6B0-00F546FB92A4}"/>
          </ac:spMkLst>
        </pc:spChg>
      </pc:sldChg>
      <pc:sldChg chg="modSp">
        <pc:chgData name="Yudi Wang" userId="S::yudi.wang@fs-students.de::d6d3e1ff-7fbc-44f4-bef1-29aa738b3b63" providerId="AD" clId="Web-{5288120D-C143-36DD-E0A0-216AF428356E}" dt="2021-10-19T12:41:43.056" v="806" actId="20577"/>
        <pc:sldMkLst>
          <pc:docMk/>
          <pc:sldMk cId="2463758819" sldId="326"/>
        </pc:sldMkLst>
        <pc:spChg chg="mod">
          <ac:chgData name="Yudi Wang" userId="S::yudi.wang@fs-students.de::d6d3e1ff-7fbc-44f4-bef1-29aa738b3b63" providerId="AD" clId="Web-{5288120D-C143-36DD-E0A0-216AF428356E}" dt="2021-10-19T12:41:43.056" v="806" actId="20577"/>
          <ac:spMkLst>
            <pc:docMk/>
            <pc:sldMk cId="2463758819" sldId="326"/>
            <ac:spMk id="11" creationId="{8FFD62F2-B38A-4F52-9919-A497B2CC4C83}"/>
          </ac:spMkLst>
        </pc:spChg>
      </pc:sldChg>
      <pc:sldChg chg="modSp">
        <pc:chgData name="Yudi Wang" userId="S::yudi.wang@fs-students.de::d6d3e1ff-7fbc-44f4-bef1-29aa738b3b63" providerId="AD" clId="Web-{5288120D-C143-36DD-E0A0-216AF428356E}" dt="2021-10-19T12:43:02.183" v="817" actId="20577"/>
        <pc:sldMkLst>
          <pc:docMk/>
          <pc:sldMk cId="1300532342" sldId="331"/>
        </pc:sldMkLst>
        <pc:spChg chg="mod">
          <ac:chgData name="Yudi Wang" userId="S::yudi.wang@fs-students.de::d6d3e1ff-7fbc-44f4-bef1-29aa738b3b63" providerId="AD" clId="Web-{5288120D-C143-36DD-E0A0-216AF428356E}" dt="2021-10-19T12:42:07.979" v="809" actId="20577"/>
          <ac:spMkLst>
            <pc:docMk/>
            <pc:sldMk cId="1300532342" sldId="331"/>
            <ac:spMk id="2" creationId="{B5867E0B-D522-4668-85FD-8C17EAD774BC}"/>
          </ac:spMkLst>
        </pc:spChg>
        <pc:spChg chg="mod">
          <ac:chgData name="Yudi Wang" userId="S::yudi.wang@fs-students.de::d6d3e1ff-7fbc-44f4-bef1-29aa738b3b63" providerId="AD" clId="Web-{5288120D-C143-36DD-E0A0-216AF428356E}" dt="2021-10-19T12:43:02.183" v="817" actId="20577"/>
          <ac:spMkLst>
            <pc:docMk/>
            <pc:sldMk cId="1300532342" sldId="331"/>
            <ac:spMk id="3" creationId="{E6F8F4B6-A847-4EEE-B87F-AAD1192EFCE7}"/>
          </ac:spMkLst>
        </pc:spChg>
        <pc:spChg chg="mod">
          <ac:chgData name="Yudi Wang" userId="S::yudi.wang@fs-students.de::d6d3e1ff-7fbc-44f4-bef1-29aa738b3b63" providerId="AD" clId="Web-{5288120D-C143-36DD-E0A0-216AF428356E}" dt="2021-10-19T12:42:37.401" v="812" actId="20577"/>
          <ac:spMkLst>
            <pc:docMk/>
            <pc:sldMk cId="1300532342" sldId="331"/>
            <ac:spMk id="17" creationId="{76FF0807-2A15-46B2-8431-AF3AB38C4DF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77DCA10-7317-4F6E-8BDF-6AFC7E968CD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B8772288-23B6-43EB-ADF4-7F88B317C7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9DC73D-5C47-4DD0-AB01-C497A81CAA4A}" type="datetimeFigureOut">
              <a:rPr lang="de-DE" smtClean="0"/>
              <a:t>22.10.2021</a:t>
            </a:fld>
            <a:endParaRPr lang="de-DE"/>
          </a:p>
        </p:txBody>
      </p:sp>
      <p:sp>
        <p:nvSpPr>
          <p:cNvPr id="4" name="Fußzeilenplatzhalter 3">
            <a:extLst>
              <a:ext uri="{FF2B5EF4-FFF2-40B4-BE49-F238E27FC236}">
                <a16:creationId xmlns:a16="http://schemas.microsoft.com/office/drawing/2014/main" id="{3DF2868D-B534-47B7-9D41-9A2F90BE909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de-DE"/>
              <a:t>KRA CASE ANALYSIS</a:t>
            </a:r>
          </a:p>
        </p:txBody>
      </p:sp>
      <p:sp>
        <p:nvSpPr>
          <p:cNvPr id="5" name="Foliennummernplatzhalter 4">
            <a:extLst>
              <a:ext uri="{FF2B5EF4-FFF2-40B4-BE49-F238E27FC236}">
                <a16:creationId xmlns:a16="http://schemas.microsoft.com/office/drawing/2014/main" id="{502BCAD6-48A0-4410-8A21-807A0392C9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D4972E-36D5-4316-AB26-74C23740348D}" type="slidenum">
              <a:rPr lang="de-DE" smtClean="0"/>
              <a:t>‹#›</a:t>
            </a:fld>
            <a:endParaRPr lang="de-DE"/>
          </a:p>
        </p:txBody>
      </p:sp>
    </p:spTree>
    <p:extLst>
      <p:ext uri="{BB962C8B-B14F-4D97-AF65-F5344CB8AC3E}">
        <p14:creationId xmlns:p14="http://schemas.microsoft.com/office/powerpoint/2010/main" val="264255064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49"/>
    </inkml:context>
    <inkml:brush xml:id="br0">
      <inkml:brushProperty name="width" value="0.1" units="cm"/>
      <inkml:brushProperty name="height" value="0.1" units="cm"/>
      <inkml:brushProperty name="color" value="#E71224"/>
    </inkml:brush>
  </inkml:definitions>
  <inkml:trace contextRef="#ctx0" brushRef="#br0">11086 6218 0 0 0,'0'0'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8"/>
    </inkml:context>
    <inkml:brush xml:id="br0">
      <inkml:brushProperty name="width" value="0.1" units="cm"/>
      <inkml:brushProperty name="height" value="0.1" units="cm"/>
      <inkml:brushProperty name="color" value="#E71224"/>
    </inkml:brush>
  </inkml:definitions>
  <inkml:trace contextRef="#ctx0" brushRef="#br0">7461 7911 0 0 0,'0'0'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9"/>
    </inkml:context>
    <inkml:brush xml:id="br0">
      <inkml:brushProperty name="width" value="0.1" units="cm"/>
      <inkml:brushProperty name="height" value="0.1" units="cm"/>
      <inkml:brushProperty name="color" value="#E71224"/>
    </inkml:brush>
  </inkml:definitions>
  <inkml:trace contextRef="#ctx0" brushRef="#br0">23178 9869 0 0 0,'0'0'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60"/>
    </inkml:context>
    <inkml:brush xml:id="br0">
      <inkml:brushProperty name="width" value="0.1" units="cm"/>
      <inkml:brushProperty name="height" value="0.1" units="cm"/>
      <inkml:brushProperty name="color" value="#E71224"/>
    </inkml:brush>
  </inkml:definitions>
  <inkml:trace contextRef="#ctx0" brushRef="#br0">10134 7990 0 0 0,'0'0'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61"/>
    </inkml:context>
    <inkml:brush xml:id="br0">
      <inkml:brushProperty name="width" value="0.1" units="cm"/>
      <inkml:brushProperty name="height" value="0.1" units="cm"/>
      <inkml:brushProperty name="color" value="#E71224"/>
    </inkml:brush>
  </inkml:definitions>
  <inkml:trace contextRef="#ctx0" brushRef="#br0">10134 7990 0 0 0,'0'0'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62"/>
    </inkml:context>
    <inkml:brush xml:id="br0">
      <inkml:brushProperty name="width" value="0.1" units="cm"/>
      <inkml:brushProperty name="height" value="0.1" units="cm"/>
      <inkml:brushProperty name="color" value="#E71224"/>
    </inkml:brush>
  </inkml:definitions>
  <inkml:trace contextRef="#ctx0" brushRef="#br0">10134 7990 0 0 0,'0'0'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998"/>
    </inkml:context>
    <inkml:brush xml:id="br0">
      <inkml:brushProperty name="width" value="0.1" units="cm"/>
      <inkml:brushProperty name="height" value="0.1" units="cm"/>
      <inkml:brushProperty name="color" value="#E71224"/>
    </inkml:brush>
  </inkml:definitions>
  <inkml:trace contextRef="#ctx0" brushRef="#br0">10557 9155 0 0 0,'0'0'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999"/>
    </inkml:context>
    <inkml:brush xml:id="br0">
      <inkml:brushProperty name="width" value="0.1" units="cm"/>
      <inkml:brushProperty name="height" value="0.1" units="cm"/>
      <inkml:brushProperty name="color" value="#E71224"/>
    </inkml:brush>
  </inkml:definitions>
  <inkml:trace contextRef="#ctx0" brushRef="#br0">11695 8414 0 0 0,'0'0'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7.670"/>
    </inkml:context>
    <inkml:brush xml:id="br0">
      <inkml:brushProperty name="width" value="0.1" units="cm"/>
      <inkml:brushProperty name="height" value="0.1" units="cm"/>
      <inkml:brushProperty name="color" value="#E71224"/>
    </inkml:brush>
  </inkml:definitions>
  <inkml:trace contextRef="#ctx0" brushRef="#br0">9184 8731 0 0 0,'-6'0'0'0'0,"-1"0"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7.671"/>
    </inkml:context>
    <inkml:brush xml:id="br0">
      <inkml:brushProperty name="width" value="0.1" units="cm"/>
      <inkml:brushProperty name="height" value="0.1" units="cm"/>
      <inkml:brushProperty name="color" value="#E71224"/>
    </inkml:brush>
  </inkml:definitions>
  <inkml:trace contextRef="#ctx0" brushRef="#br0">9155 8731 0 0 0,'0'0'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0"/>
    </inkml:context>
    <inkml:brush xml:id="br0">
      <inkml:brushProperty name="width" value="0.1" units="cm"/>
      <inkml:brushProperty name="height" value="0.1" units="cm"/>
      <inkml:brushProperty name="color" value="#E71224"/>
    </inkml:brush>
  </inkml:definitions>
  <inkml:trace contextRef="#ctx0" brushRef="#br0">11086 6218 0 0 0,'0'0'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1"/>
    </inkml:context>
    <inkml:brush xml:id="br0">
      <inkml:brushProperty name="width" value="0.1" units="cm"/>
      <inkml:brushProperty name="height" value="0.1" units="cm"/>
      <inkml:brushProperty name="color" value="#E71224"/>
    </inkml:brush>
  </inkml:definitions>
  <inkml:trace contextRef="#ctx0" brushRef="#br0">11060 6350 0 0 0,'0'0'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2"/>
    </inkml:context>
    <inkml:brush xml:id="br0">
      <inkml:brushProperty name="width" value="0.1" units="cm"/>
      <inkml:brushProperty name="height" value="0.1" units="cm"/>
      <inkml:brushProperty name="color" value="#E71224"/>
    </inkml:brush>
  </inkml:definitions>
  <inkml:trace contextRef="#ctx0" brushRef="#br0">11060 6350 0 0 0,'0'0'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3"/>
    </inkml:context>
    <inkml:brush xml:id="br0">
      <inkml:brushProperty name="width" value="0.1" units="cm"/>
      <inkml:brushProperty name="height" value="0.1" units="cm"/>
      <inkml:brushProperty name="color" value="#E71224"/>
    </inkml:brush>
  </inkml:definitions>
  <inkml:trace contextRef="#ctx0" brushRef="#br0">10425 7435 0 0 0,'0'0'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4"/>
    </inkml:context>
    <inkml:brush xml:id="br0">
      <inkml:brushProperty name="width" value="0.1" units="cm"/>
      <inkml:brushProperty name="height" value="0.1" units="cm"/>
      <inkml:brushProperty name="color" value="#E71224"/>
    </inkml:brush>
  </inkml:definitions>
  <inkml:trace contextRef="#ctx0" brushRef="#br0">11536 6033 0 0 0,'0'0'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5"/>
    </inkml:context>
    <inkml:brush xml:id="br0">
      <inkml:brushProperty name="width" value="0.1" units="cm"/>
      <inkml:brushProperty name="height" value="0.1" units="cm"/>
      <inkml:brushProperty name="color" value="#E71224"/>
    </inkml:brush>
  </inkml:definitions>
  <inkml:trace contextRef="#ctx0" brushRef="#br0">10557 7541 0 0 0,'0'0'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6"/>
    </inkml:context>
    <inkml:brush xml:id="br0">
      <inkml:brushProperty name="width" value="0.1" units="cm"/>
      <inkml:brushProperty name="height" value="0.1" units="cm"/>
      <inkml:brushProperty name="color" value="#E71224"/>
    </inkml:brush>
  </inkml:definitions>
  <inkml:trace contextRef="#ctx0" brushRef="#br0">11165 8390 0 0 0,'0'-6'0'0'0,"0"-1"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0-19T11:46:34.257"/>
    </inkml:context>
    <inkml:brush xml:id="br0">
      <inkml:brushProperty name="width" value="0.1" units="cm"/>
      <inkml:brushProperty name="height" value="0.1" units="cm"/>
      <inkml:brushProperty name="color" value="#E71224"/>
    </inkml:brush>
  </inkml:definitions>
  <inkml:trace contextRef="#ctx0" brushRef="#br0">11165 8361 0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0DDFEF-0EA3-4BAE-B0E3-B3446B2AC4EC}" type="datetimeFigureOut">
              <a:rPr lang="en-US" altLang="zh-CN"/>
              <a:t>10/22/20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de-DE" altLang="zh-CN"/>
              <a:t>KRA CASE ANALYSIS</a:t>
            </a:r>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55A210-D647-4471-9ADF-2FE2CAB61504}" type="slidenum">
              <a:rPr lang="en-US" altLang="zh-CN"/>
              <a:t>‹#›</a:t>
            </a:fld>
            <a:endParaRPr lang="zh-CN" altLang="en-US"/>
          </a:p>
        </p:txBody>
      </p:sp>
    </p:spTree>
    <p:extLst>
      <p:ext uri="{BB962C8B-B14F-4D97-AF65-F5344CB8AC3E}">
        <p14:creationId xmlns:p14="http://schemas.microsoft.com/office/powerpoint/2010/main" val="146914553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orhttps:/datatopics.worldbank.org/world-development-indicators/themes/economy.html"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comtrade.un.org/pb/"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aps-thailand-th.com/thailand-religion-map"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pcommons.upc.edu/bitstream/handle/2117/169660/140869_ElisendaVenturaJariod_TFG%20(1).pdf"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18 </a:t>
            </a:r>
          </a:p>
        </p:txBody>
      </p:sp>
    </p:spTree>
    <p:extLst>
      <p:ext uri="{BB962C8B-B14F-4D97-AF65-F5344CB8AC3E}">
        <p14:creationId xmlns:p14="http://schemas.microsoft.com/office/powerpoint/2010/main" val="789214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limate.nasa.gov/vital-signs/arctic-sea-ice/</a:t>
            </a:r>
          </a:p>
        </p:txBody>
      </p:sp>
    </p:spTree>
    <p:extLst>
      <p:ext uri="{BB962C8B-B14F-4D97-AF65-F5344CB8AC3E}">
        <p14:creationId xmlns:p14="http://schemas.microsoft.com/office/powerpoint/2010/main" val="3387612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a:t>
            </a:r>
            <a:r>
              <a:rPr lang="en-US" err="1"/>
              <a:t>upcommons.upc.edu</a:t>
            </a:r>
            <a:r>
              <a:rPr lang="en-US"/>
              <a:t>/bitstream/handle/2117/169660/140869_ElisendaVenturaJariod_TFG%20(1).pdf</a:t>
            </a:r>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a:t>
            </a:r>
            <a:r>
              <a:rPr lang="en-US" err="1">
                <a:ea typeface="等线"/>
              </a:rPr>
              <a:t>thailand</a:t>
            </a:r>
            <a:r>
              <a:rPr lang="en-US">
                <a:ea typeface="等线"/>
              </a:rPr>
              <a:t> :</a:t>
            </a:r>
          </a:p>
          <a:p>
            <a:r>
              <a:rPr lang="en-US"/>
              <a:t>https://</a:t>
            </a:r>
            <a:r>
              <a:rPr lang="en-US" err="1"/>
              <a:t>en.wikipedia.org</a:t>
            </a:r>
            <a:r>
              <a:rPr lang="en-US"/>
              <a:t>/wiki/</a:t>
            </a:r>
            <a:r>
              <a:rPr lang="en-US" err="1"/>
              <a:t>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2971607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a:t>
            </a:r>
            <a:r>
              <a:rPr lang="en-US" err="1"/>
              <a:t>upcommons.upc.edu</a:t>
            </a:r>
            <a:r>
              <a:rPr lang="en-US"/>
              <a:t>/bitstream/handle/2117/169660/140869_ElisendaVenturaJariod_TFG%20(1).pdf</a:t>
            </a:r>
          </a:p>
          <a:p>
            <a:endParaRPr lang="en-US"/>
          </a:p>
          <a:p>
            <a:r>
              <a:rPr lang="en-US"/>
              <a:t>https://</a:t>
            </a:r>
            <a:r>
              <a:rPr lang="en-US" err="1"/>
              <a:t>amti.csis.org</a:t>
            </a:r>
            <a:r>
              <a:rPr lang="en-US"/>
              <a:t>/maritime-claims-map/</a:t>
            </a:r>
          </a:p>
          <a:p>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a:t>
            </a:r>
            <a:r>
              <a:rPr lang="en-US" err="1">
                <a:ea typeface="等线"/>
              </a:rPr>
              <a:t>thailand</a:t>
            </a:r>
            <a:r>
              <a:rPr lang="en-US">
                <a:ea typeface="等线"/>
              </a:rPr>
              <a:t> :</a:t>
            </a:r>
          </a:p>
          <a:p>
            <a:r>
              <a:rPr lang="en-US"/>
              <a:t>https://</a:t>
            </a:r>
            <a:r>
              <a:rPr lang="en-US" err="1"/>
              <a:t>en.wikipedia.org</a:t>
            </a:r>
            <a:r>
              <a:rPr lang="en-US"/>
              <a:t>/wiki/</a:t>
            </a:r>
            <a:r>
              <a:rPr lang="en-US" err="1"/>
              <a:t>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2500989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a:t>
            </a:r>
            <a:r>
              <a:rPr lang="en-US" err="1"/>
              <a:t>upcommons.upc.edu</a:t>
            </a:r>
            <a:r>
              <a:rPr lang="en-US"/>
              <a:t>/bitstream/handle/2117/169660/140869_ElisendaVenturaJariod_TFG%20(1).pdf</a:t>
            </a:r>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a:t>
            </a:r>
            <a:r>
              <a:rPr lang="en-US" err="1">
                <a:ea typeface="等线"/>
              </a:rPr>
              <a:t>thailand</a:t>
            </a:r>
            <a:r>
              <a:rPr lang="en-US">
                <a:ea typeface="等线"/>
              </a:rPr>
              <a:t> :</a:t>
            </a:r>
          </a:p>
          <a:p>
            <a:r>
              <a:rPr lang="en-US"/>
              <a:t>https://</a:t>
            </a:r>
            <a:r>
              <a:rPr lang="en-US" err="1"/>
              <a:t>en.wikipedia.org</a:t>
            </a:r>
            <a:r>
              <a:rPr lang="en-US"/>
              <a:t>/wiki/</a:t>
            </a:r>
            <a:r>
              <a:rPr lang="en-US" err="1"/>
              <a:t>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3577569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upcommons.upc.edu/bitstream/handle/2117/169660/140869_ElisendaVenturaJariod_TFG%20(1).pdf</a:t>
            </a:r>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thailand :</a:t>
            </a:r>
          </a:p>
          <a:p>
            <a:r>
              <a:rPr lang="en-US"/>
              <a:t>https://en.wikipedia.org/wiki/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1930658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a:t>
            </a:r>
            <a:r>
              <a:rPr lang="en-US" err="1"/>
              <a:t>upcommons.upc.edu</a:t>
            </a:r>
            <a:r>
              <a:rPr lang="en-US"/>
              <a:t>/bitstream/handle/2117/169660/140869_ElisendaVenturaJariod_TFG%20(1).pdf</a:t>
            </a:r>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a:t>
            </a:r>
            <a:r>
              <a:rPr lang="en-US" err="1">
                <a:ea typeface="等线"/>
              </a:rPr>
              <a:t>thailand</a:t>
            </a:r>
            <a:r>
              <a:rPr lang="en-US">
                <a:ea typeface="等线"/>
              </a:rPr>
              <a:t> :</a:t>
            </a:r>
          </a:p>
          <a:p>
            <a:r>
              <a:rPr lang="en-US"/>
              <a:t>https://</a:t>
            </a:r>
            <a:r>
              <a:rPr lang="en-US" err="1"/>
              <a:t>en.wikipedia.org</a:t>
            </a:r>
            <a:r>
              <a:rPr lang="en-US"/>
              <a:t>/wiki/</a:t>
            </a:r>
            <a:r>
              <a:rPr lang="en-US" err="1"/>
              <a:t>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348496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ea typeface="等线"/>
              </a:rPr>
              <a:t>South china sea trade and countries : </a:t>
            </a:r>
          </a:p>
          <a:p>
            <a:r>
              <a:rPr lang="en-US"/>
              <a:t>https://upcommons.upc.edu/bitstream/handle/2117/169660/140869_ElisendaVenturaJariod_TFG%20(1).pdf</a:t>
            </a:r>
            <a:endParaRPr lang="en-US">
              <a:ea typeface="等线"/>
            </a:endParaRPr>
          </a:p>
          <a:p>
            <a:r>
              <a:rPr lang="en-US">
                <a:ea typeface="等线"/>
              </a:rPr>
              <a:t>Foreign investment % of GDP :</a:t>
            </a:r>
          </a:p>
          <a:p>
            <a:r>
              <a:rPr lang="en-US">
                <a:hlinkClick r:id="rId3"/>
              </a:rPr>
              <a:t> https://datatopics.worldbank.org/world-development-indicators/themes/economy.html</a:t>
            </a:r>
            <a:endParaRPr lang="en-US">
              <a:ea typeface="等线"/>
            </a:endParaRPr>
          </a:p>
          <a:p>
            <a:r>
              <a:rPr lang="en-US">
                <a:ea typeface="等线"/>
              </a:rPr>
              <a:t>Trade balance :</a:t>
            </a:r>
          </a:p>
          <a:p>
            <a:r>
              <a:rPr lang="en-US">
                <a:hlinkClick r:id="rId4"/>
              </a:rPr>
              <a:t>https://comtrade.un.org/pb/</a:t>
            </a:r>
          </a:p>
          <a:p>
            <a:r>
              <a:rPr lang="en-US">
                <a:ea typeface="等线"/>
              </a:rPr>
              <a:t>Politics of thailand :</a:t>
            </a:r>
          </a:p>
          <a:p>
            <a:r>
              <a:rPr lang="en-US"/>
              <a:t>https://en.wikipedia.org/wiki/Politics_of_Thailand</a:t>
            </a:r>
            <a:endParaRPr lang="en-US">
              <a:ea typeface="等线"/>
            </a:endParaRPr>
          </a:p>
          <a:p>
            <a:endParaRPr lang="en-US">
              <a:ea typeface="等线"/>
            </a:endParaRPr>
          </a:p>
        </p:txBody>
      </p:sp>
    </p:spTree>
    <p:extLst>
      <p:ext uri="{BB962C8B-B14F-4D97-AF65-F5344CB8AC3E}">
        <p14:creationId xmlns:p14="http://schemas.microsoft.com/office/powerpoint/2010/main" val="2428995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ea typeface="等线"/>
              </a:rPr>
              <a:t>Religion map : </a:t>
            </a:r>
            <a:r>
              <a:rPr lang="en-US" altLang="zh-CN">
                <a:ea typeface="等线"/>
                <a:hlinkClick r:id="rId3"/>
              </a:rPr>
              <a:t>https://maps-thailand-th.com/thailand-religion-map</a:t>
            </a:r>
            <a:endParaRPr lang="zh-CN" altLang="en-US">
              <a:ea typeface="等线" panose="02010600030101010101" pitchFamily="2" charset="-122"/>
            </a:endParaRPr>
          </a:p>
          <a:p>
            <a:r>
              <a:rPr lang="en-US" altLang="zh-CN">
                <a:ea typeface="等线"/>
              </a:rPr>
              <a:t>Asia piracy : </a:t>
            </a:r>
            <a:r>
              <a:rPr lang="en-US">
                <a:hlinkClick r:id="rId4"/>
              </a:rPr>
              <a:t>https://upcommons.upc.edu/bitstream/handle/2117/169660/140869_ElisendaVenturaJariod_TFG%20(1).pdf</a:t>
            </a:r>
            <a:endParaRPr lang="en-US" altLang="zh-CN">
              <a:ea typeface="等线"/>
            </a:endParaRPr>
          </a:p>
          <a:p>
            <a:r>
              <a:rPr lang="en-US"/>
              <a:t>Ship:  https://jshippingandtrade.springeropen.com/track/pdf/10.1186/s41072-016-0016-0.pdf</a:t>
            </a:r>
          </a:p>
        </p:txBody>
      </p:sp>
    </p:spTree>
    <p:extLst>
      <p:ext uri="{BB962C8B-B14F-4D97-AF65-F5344CB8AC3E}">
        <p14:creationId xmlns:p14="http://schemas.microsoft.com/office/powerpoint/2010/main" val="990518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sidc.org/data/masie/browse_regions</a:t>
            </a:r>
          </a:p>
        </p:txBody>
      </p:sp>
    </p:spTree>
    <p:extLst>
      <p:ext uri="{BB962C8B-B14F-4D97-AF65-F5344CB8AC3E}">
        <p14:creationId xmlns:p14="http://schemas.microsoft.com/office/powerpoint/2010/main" val="2479714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7A409-8103-4DC7-BA63-E3B6ED35AE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57F3203-511B-4DED-9D93-F2AC05CBD4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36FB095-CE69-4E8C-953C-C2767F62DE2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BB982C3C-99E4-42C9-94D6-A982C4050C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25983F-DE7B-4152-A60F-00D4D1128520}"/>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84058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B2021-3333-44E5-B3D0-DB698BB0183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F56772C-E554-479C-9D3A-6BB9743341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C01A58-A3A2-41E4-B699-9D74C80109AD}"/>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8CD3929-B606-4D97-B423-16F9FCDBF6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552B08-3514-4B10-841B-94BD4396F865}"/>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3748362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4D80BE-1702-4160-90C3-7EF7EC64A12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718433D-E283-4F47-A86E-FB420FD9AB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D43B0BA-2C62-465D-91E2-026CA0034102}"/>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31D38FD-92E0-48BE-A00A-3B3B9A2BB92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9595ED-2C62-4587-98B9-A0409C3373AE}"/>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644036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733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DCC0-6E22-43F8-8BD6-DB3CC5FB6F9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E3C7017-D3C3-495C-89C8-5DC2F35A14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90BAA7F-7D6B-4CB8-8CD1-97898ADB0BCA}"/>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D91B3CF-F54E-4047-9AA1-B418359DFB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732472-1ADA-4EA7-AE82-AF1FAAECBD28}"/>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006729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8C019-7AAC-4083-9A44-BBD93BAC4F5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3614851-A9F8-4821-A74E-529B8DA940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202AC2-D4D2-47AF-9CB5-4901609B1C8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B1654ADF-3614-459E-A8E5-A800B87B68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51A205-5D17-499F-8C42-89E199E1B574}"/>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48373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56D9C-69E8-44F3-A6F2-61ED86D8901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E483B52-4BA0-4DFF-A4A1-38D68FC6E9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07520AF-29BC-4E58-A197-573D08AC124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1341150-9F84-43BB-9EB8-09482FA97D3D}"/>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5250C2C-6417-4812-A0B0-15A7B193BA6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C4ED68C-646A-49D7-B20C-AAEF3E1FACAE}"/>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568461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3D60C-1F31-45F9-A9ED-69C4AB516BE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020711-6D09-4F89-B0D4-4FAC917671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E3FBEB-9304-41F2-8158-6B2B0DFCCC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88C8005-A4B7-4C0C-AF32-A40ADEB6E2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B1AB1F5-F43B-4E18-8DBD-D4C8B39C47F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1208B10-11C1-486C-9D32-7EEC27812305}"/>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CF25A78A-C23E-4F5C-9277-628A36B478B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931AAD7-A661-411C-A00E-6738F16335E5}"/>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617424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41C01-282F-46AE-8737-E611E563744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ABDDEA2-4702-47FF-9BF8-094416E997E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9A77DF3-9658-434A-AA4B-AE6362356EC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8D15E46-202E-4B34-89E2-70DD59821E8E}"/>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227299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CC4165-C009-4CE0-A3A8-F96842ECE118}"/>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1B7A8FBC-3264-4172-BDC9-75FC8339431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C774067-799A-4BD7-8D25-2A87F9ABE07A}"/>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2430171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CA015-BBB1-4590-9BCB-B8EE6BD52C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DD8A3BE-BA2F-452F-B9AE-8E66FFB1CDA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199D924-7823-425A-8E11-362F20EB02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23AD4D-DBD1-4FB1-9A7A-31CAD27CFA0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4D76DEB4-5310-46CB-8C58-AE0F3ED9859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7B6D8E-0033-4B5A-858F-40C592EBC8C5}"/>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941139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C8B9C-93C4-4A0B-B193-FE328187F0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C63F5A7-B85E-4B62-9BB8-14EBD81497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ECEFB48-F9AF-41CE-BD0C-5CE693EF51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3FC3AC-4368-40A5-838A-537D3F1B98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914AA76-ED2B-4788-92E6-6DE0E8528BB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3930B8C-C266-4DA5-82C6-C154AAD9C64E}"/>
              </a:ext>
            </a:extLst>
          </p:cNvPr>
          <p:cNvSpPr>
            <a:spLocks noGrp="1"/>
          </p:cNvSpPr>
          <p:nvPr>
            <p:ph type="sldNum" sz="quarter" idx="12"/>
          </p:nvPr>
        </p:nvSpPr>
        <p:spPr/>
        <p:txBody>
          <a:bodyPr/>
          <a:lstStyle/>
          <a:p>
            <a:fld id="{4A0B9D2D-6490-410F-BAA1-A5DF4CF5DAF3}" type="slidenum">
              <a:rPr lang="en-GB" smtClean="0"/>
              <a:t>‹#›</a:t>
            </a:fld>
            <a:endParaRPr lang="en-GB"/>
          </a:p>
        </p:txBody>
      </p:sp>
    </p:spTree>
    <p:extLst>
      <p:ext uri="{BB962C8B-B14F-4D97-AF65-F5344CB8AC3E}">
        <p14:creationId xmlns:p14="http://schemas.microsoft.com/office/powerpoint/2010/main" val="1498587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C842E3-3627-482F-AE49-050E04757539}"/>
              </a:ext>
            </a:extLst>
          </p:cNvPr>
          <p:cNvGraphicFramePr>
            <a:graphicFrameLocks noChangeAspect="1"/>
          </p:cNvGraphicFramePr>
          <p:nvPr userDrawn="1">
            <p:custDataLst>
              <p:tags r:id="rId15"/>
            </p:custDataLst>
            <p:extLst>
              <p:ext uri="{D42A27DB-BD31-4B8C-83A1-F6EECF244321}">
                <p14:modId xmlns:p14="http://schemas.microsoft.com/office/powerpoint/2010/main" val="228214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6" imgW="327" imgH="327" progId="TCLayout.ActiveDocument.1">
                  <p:embed/>
                </p:oleObj>
              </mc:Choice>
              <mc:Fallback>
                <p:oleObj name="think-cell Slide" r:id="rId16" imgW="327" imgH="327" progId="TCLayout.ActiveDocument.1">
                  <p:embed/>
                  <p:pic>
                    <p:nvPicPr>
                      <p:cNvPr id="8" name="Object 7" hidden="1">
                        <a:extLst>
                          <a:ext uri="{FF2B5EF4-FFF2-40B4-BE49-F238E27FC236}">
                            <a16:creationId xmlns:a16="http://schemas.microsoft.com/office/drawing/2014/main" id="{BAC842E3-3627-482F-AE49-050E0475753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74252A2-8B26-4C89-BBC4-5F925FDA8B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D1AE4A4-4AA6-4B54-B932-F465EFAA49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E83D39D-46DA-45AB-B2DF-BD11EDD540A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B3FD1486-B4BB-4885-AD5B-F5FD2E045E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0656911-B82F-4C49-B720-7205EE5A75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0B9D2D-6490-410F-BAA1-A5DF4CF5DAF3}" type="slidenum">
              <a:rPr lang="en-GB" smtClean="0"/>
              <a:t>‹#›</a:t>
            </a:fld>
            <a:endParaRPr lang="en-GB"/>
          </a:p>
        </p:txBody>
      </p:sp>
    </p:spTree>
    <p:extLst>
      <p:ext uri="{BB962C8B-B14F-4D97-AF65-F5344CB8AC3E}">
        <p14:creationId xmlns:p14="http://schemas.microsoft.com/office/powerpoint/2010/main" val="19107760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image" Target="../media/image23.png"/><Relationship Id="rId18" Type="http://schemas.openxmlformats.org/officeDocument/2006/relationships/customXml" Target="../ink/ink13.xml"/><Relationship Id="rId3" Type="http://schemas.openxmlformats.org/officeDocument/2006/relationships/image" Target="../media/image21.jpeg"/><Relationship Id="rId7" Type="http://schemas.openxmlformats.org/officeDocument/2006/relationships/customXml" Target="../ink/ink3.xml"/><Relationship Id="rId12" Type="http://schemas.openxmlformats.org/officeDocument/2006/relationships/customXml" Target="../ink/ink8.xml"/><Relationship Id="rId17" Type="http://schemas.openxmlformats.org/officeDocument/2006/relationships/customXml" Target="../ink/ink12.xml"/><Relationship Id="rId2" Type="http://schemas.openxmlformats.org/officeDocument/2006/relationships/notesSlide" Target="../notesSlides/notesSlide9.xml"/><Relationship Id="rId16" Type="http://schemas.openxmlformats.org/officeDocument/2006/relationships/customXml" Target="../ink/ink11.xml"/><Relationship Id="rId20"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customXml" Target="../ink/ink2.xml"/><Relationship Id="rId11" Type="http://schemas.openxmlformats.org/officeDocument/2006/relationships/customXml" Target="../ink/ink7.xml"/><Relationship Id="rId5" Type="http://schemas.openxmlformats.org/officeDocument/2006/relationships/image" Target="../media/image22.png"/><Relationship Id="rId15" Type="http://schemas.openxmlformats.org/officeDocument/2006/relationships/customXml" Target="../ink/ink10.xml"/><Relationship Id="rId10" Type="http://schemas.openxmlformats.org/officeDocument/2006/relationships/customXml" Target="../ink/ink6.xml"/><Relationship Id="rId19" Type="http://schemas.openxmlformats.org/officeDocument/2006/relationships/customXml" Target="../ink/ink14.xml"/><Relationship Id="rId4" Type="http://schemas.openxmlformats.org/officeDocument/2006/relationships/customXml" Target="../ink/ink1.xml"/><Relationship Id="rId9" Type="http://schemas.openxmlformats.org/officeDocument/2006/relationships/customXml" Target="../ink/ink5.xml"/><Relationship Id="rId14" Type="http://schemas.openxmlformats.org/officeDocument/2006/relationships/customXml" Target="../ink/ink9.xml"/></Relationships>
</file>

<file path=ppt/slides/_rels/slide1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customXml" Target="../ink/ink16.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customXml" Target="../ink/ink15.xm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customXml" Target="../ink/ink17.xml"/><Relationship Id="rId7" Type="http://schemas.openxmlformats.org/officeDocument/2006/relationships/image" Target="../media/image28.pn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customXml" Target="../ink/ink18.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ideo" Target="https://www.youtube.com/embed/b3r8LNTCiGQ?feature=oembed" TargetMode="Externa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9" name="Rectangle 43">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6FA5B230-C01C-405F-B748-0840C62625C2}"/>
              </a:ext>
            </a:extLst>
          </p:cNvPr>
          <p:cNvPicPr>
            <a:picLocks noChangeAspect="1"/>
          </p:cNvPicPr>
          <p:nvPr/>
        </p:nvPicPr>
        <p:blipFill rotWithShape="1">
          <a:blip r:embed="rId2">
            <a:extLst>
              <a:ext uri="{28A0092B-C50C-407E-A947-70E740481C1C}">
                <a14:useLocalDpi xmlns:a14="http://schemas.microsoft.com/office/drawing/2010/main" val="0"/>
              </a:ext>
            </a:extLst>
          </a:blip>
          <a:srcRect t="7697" r="35364" b="1394"/>
          <a:stretch/>
        </p:blipFill>
        <p:spPr>
          <a:xfrm>
            <a:off x="3523488" y="10"/>
            <a:ext cx="8668512" cy="6857990"/>
          </a:xfrm>
          <a:prstGeom prst="rect">
            <a:avLst/>
          </a:prstGeom>
        </p:spPr>
      </p:pic>
      <p:sp>
        <p:nvSpPr>
          <p:cNvPr id="51" name="Rectangle 45">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4ED2569-20A0-47A1-8AA6-84B44A3C6106}"/>
              </a:ext>
            </a:extLst>
          </p:cNvPr>
          <p:cNvSpPr txBox="1"/>
          <p:nvPr/>
        </p:nvSpPr>
        <p:spPr>
          <a:xfrm>
            <a:off x="477981" y="1122363"/>
            <a:ext cx="6395430" cy="3204134"/>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000" b="1">
                <a:latin typeface="+mj-lt"/>
                <a:ea typeface="+mj-ea"/>
                <a:cs typeface="+mj-cs"/>
              </a:rPr>
              <a:t>Kra</a:t>
            </a:r>
            <a:r>
              <a:rPr lang="en-US" sz="6000" b="1" i="0">
                <a:effectLst/>
                <a:latin typeface="+mj-lt"/>
                <a:ea typeface="+mj-ea"/>
                <a:cs typeface="+mj-cs"/>
              </a:rPr>
              <a:t> Canal</a:t>
            </a:r>
            <a:r>
              <a:rPr lang="en-US" sz="6000" b="1">
                <a:latin typeface="+mj-lt"/>
                <a:ea typeface="+mj-ea"/>
                <a:cs typeface="+mj-cs"/>
              </a:rPr>
              <a:t>:</a:t>
            </a:r>
            <a:r>
              <a:rPr lang="en-US" sz="6000">
                <a:latin typeface="+mj-lt"/>
                <a:ea typeface="+mj-ea"/>
                <a:cs typeface="+mj-cs"/>
              </a:rPr>
              <a:t> </a:t>
            </a:r>
          </a:p>
          <a:p>
            <a:pPr>
              <a:lnSpc>
                <a:spcPct val="90000"/>
              </a:lnSpc>
              <a:spcBef>
                <a:spcPct val="0"/>
              </a:spcBef>
              <a:spcAft>
                <a:spcPts val="600"/>
              </a:spcAft>
            </a:pPr>
            <a:r>
              <a:rPr lang="en-US" sz="4800">
                <a:latin typeface="+mj-lt"/>
                <a:ea typeface="+mj-ea"/>
                <a:cs typeface="+mj-cs"/>
              </a:rPr>
              <a:t>To build or not to build?</a:t>
            </a:r>
          </a:p>
        </p:txBody>
      </p:sp>
      <p:sp>
        <p:nvSpPr>
          <p:cNvPr id="48" name="Rectangle 47">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0" name="Rectangle 49">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liennummernplatzhalter 4">
            <a:extLst>
              <a:ext uri="{FF2B5EF4-FFF2-40B4-BE49-F238E27FC236}">
                <a16:creationId xmlns:a16="http://schemas.microsoft.com/office/drawing/2014/main" id="{AF204C48-53F3-4C6E-AC71-E8229571533E}"/>
              </a:ext>
            </a:extLst>
          </p:cNvPr>
          <p:cNvSpPr>
            <a:spLocks noGrp="1"/>
          </p:cNvSpPr>
          <p:nvPr>
            <p:ph type="sldNum" sz="quarter" idx="12"/>
          </p:nvPr>
        </p:nvSpPr>
        <p:spPr/>
        <p:txBody>
          <a:bodyPr/>
          <a:lstStyle/>
          <a:p>
            <a:fld id="{4A0B9D2D-6490-410F-BAA1-A5DF4CF5DAF3}" type="slidenum">
              <a:rPr lang="en-GB" smtClean="0"/>
              <a:t>1</a:t>
            </a:fld>
            <a:endParaRPr lang="en-GB"/>
          </a:p>
        </p:txBody>
      </p:sp>
    </p:spTree>
    <p:extLst>
      <p:ext uri="{BB962C8B-B14F-4D97-AF65-F5344CB8AC3E}">
        <p14:creationId xmlns:p14="http://schemas.microsoft.com/office/powerpoint/2010/main" val="2838950762"/>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0">
            <a:extLst>
              <a:ext uri="{FF2B5EF4-FFF2-40B4-BE49-F238E27FC236}">
                <a16:creationId xmlns:a16="http://schemas.microsoft.com/office/drawing/2014/main" id="{6E1ED89E-07ED-4FEC-A583-48A0A8CD37CE}"/>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13" name="Rechteck 12">
            <a:extLst>
              <a:ext uri="{FF2B5EF4-FFF2-40B4-BE49-F238E27FC236}">
                <a16:creationId xmlns:a16="http://schemas.microsoft.com/office/drawing/2014/main" id="{CD12F295-986B-49B3-B714-7B35CD80CF04}"/>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a:t>
            </a:r>
            <a:r>
              <a:rPr lang="de-DE" altLang="zh-CN" sz="2400">
                <a:ea typeface="等线 Light"/>
                <a:cs typeface="Calibri Light"/>
              </a:rPr>
              <a:t> Analysis: </a:t>
            </a:r>
            <a:r>
              <a:rPr lang="en-AU" altLang="zh-CN" sz="2400">
                <a:ea typeface="等线 Light"/>
                <a:cs typeface="Calibri Light"/>
              </a:rPr>
              <a:t>Economic</a:t>
            </a:r>
            <a:r>
              <a:rPr lang="de-DE" altLang="zh-CN" sz="2400">
                <a:ea typeface="等线 Light"/>
                <a:cs typeface="Calibri Light"/>
              </a:rPr>
              <a:t> </a:t>
            </a:r>
            <a:r>
              <a:rPr lang="en-US" altLang="zh-CN" sz="2400">
                <a:ea typeface="等线 Light"/>
                <a:cs typeface="Calibri Light"/>
              </a:rPr>
              <a:t>factors</a:t>
            </a:r>
          </a:p>
        </p:txBody>
      </p:sp>
      <p:sp>
        <p:nvSpPr>
          <p:cNvPr id="2" name="Foliennummernplatzhalter 1">
            <a:extLst>
              <a:ext uri="{FF2B5EF4-FFF2-40B4-BE49-F238E27FC236}">
                <a16:creationId xmlns:a16="http://schemas.microsoft.com/office/drawing/2014/main" id="{286A8A93-DC43-4256-9809-B9D2000497A4}"/>
              </a:ext>
            </a:extLst>
          </p:cNvPr>
          <p:cNvSpPr>
            <a:spLocks noGrp="1"/>
          </p:cNvSpPr>
          <p:nvPr>
            <p:ph type="sldNum" sz="quarter" idx="12"/>
          </p:nvPr>
        </p:nvSpPr>
        <p:spPr/>
        <p:txBody>
          <a:bodyPr/>
          <a:lstStyle/>
          <a:p>
            <a:fld id="{4A0B9D2D-6490-410F-BAA1-A5DF4CF5DAF3}" type="slidenum">
              <a:rPr lang="en-GB" smtClean="0"/>
              <a:t>10</a:t>
            </a:fld>
            <a:endParaRPr lang="en-GB"/>
          </a:p>
        </p:txBody>
      </p:sp>
      <p:sp>
        <p:nvSpPr>
          <p:cNvPr id="11" name="Textfeld 15">
            <a:extLst>
              <a:ext uri="{FF2B5EF4-FFF2-40B4-BE49-F238E27FC236}">
                <a16:creationId xmlns:a16="http://schemas.microsoft.com/office/drawing/2014/main" id="{2D33E563-0E59-4EEF-9650-0DB8BDCE5A57}"/>
              </a:ext>
            </a:extLst>
          </p:cNvPr>
          <p:cNvSpPr txBox="1"/>
          <p:nvPr/>
        </p:nvSpPr>
        <p:spPr>
          <a:xfrm>
            <a:off x="221876" y="1311163"/>
            <a:ext cx="11356848" cy="3970318"/>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1">
                <a:latin typeface="Aharoni" panose="02010803020104030203" pitchFamily="2" charset="-79"/>
                <a:ea typeface="等线"/>
                <a:cs typeface="Aharoni" panose="02010803020104030203" pitchFamily="2" charset="-79"/>
              </a:rPr>
              <a:t>Positive factors:</a:t>
            </a:r>
            <a:endParaRPr lang="en-US" altLang="zh-CN" b="1">
              <a:ea typeface="+mn-lt"/>
              <a:cs typeface="+mn-lt"/>
            </a:endParaRPr>
          </a:p>
          <a:p>
            <a:r>
              <a:rPr lang="en-US" altLang="zh-CN" b="1">
                <a:ea typeface="+mn-lt"/>
                <a:cs typeface="+mn-lt"/>
              </a:rPr>
              <a:t>Thailand could gain various economic benefits from Kra Canal:</a:t>
            </a:r>
          </a:p>
          <a:p>
            <a:endParaRPr lang="en-US" altLang="zh-CN" b="1">
              <a:ea typeface="+mn-lt"/>
              <a:cs typeface="+mn-lt"/>
            </a:endParaRPr>
          </a:p>
          <a:p>
            <a:pPr marL="285750" indent="-285750">
              <a:buFont typeface="Arial"/>
              <a:buChar char="•"/>
            </a:pPr>
            <a:r>
              <a:rPr lang="en-US" altLang="zh-CN" b="1">
                <a:ea typeface="+mn-lt"/>
                <a:cs typeface="+mn-lt"/>
              </a:rPr>
              <a:t>Trade revenue</a:t>
            </a:r>
            <a:r>
              <a:rPr lang="en-US" altLang="zh-CN">
                <a:ea typeface="+mn-lt"/>
                <a:cs typeface="+mn-lt"/>
              </a:rPr>
              <a:t>: annual trade turnover estimated 280 billion</a:t>
            </a:r>
            <a:r>
              <a:rPr lang="zh-CN" altLang="en-US">
                <a:ea typeface="+mn-lt"/>
                <a:cs typeface="+mn-lt"/>
              </a:rPr>
              <a:t> </a:t>
            </a:r>
            <a:r>
              <a:rPr lang="en-US" altLang="zh-CN">
                <a:ea typeface="+mn-lt"/>
                <a:cs typeface="+mn-lt"/>
              </a:rPr>
              <a:t>USD </a:t>
            </a:r>
          </a:p>
          <a:p>
            <a:pPr marL="285750" indent="-285750">
              <a:buFont typeface="Arial"/>
              <a:buChar char="•"/>
            </a:pPr>
            <a:r>
              <a:rPr lang="en-US" altLang="zh-CN" b="1">
                <a:ea typeface="等线"/>
                <a:cs typeface="+mn-lt"/>
              </a:rPr>
              <a:t>Revenue from related use </a:t>
            </a:r>
            <a:r>
              <a:rPr lang="en-US" altLang="zh-CN">
                <a:ea typeface="等线"/>
                <a:cs typeface="+mn-lt"/>
              </a:rPr>
              <a:t>of Kra Canal, such as, navigation and toll fees, income tax,  export tariffs, and shipyard activities </a:t>
            </a:r>
          </a:p>
          <a:p>
            <a:pPr marL="285750" indent="-285750">
              <a:buFont typeface="Arial"/>
              <a:buChar char="•"/>
            </a:pPr>
            <a:r>
              <a:rPr lang="en-US" altLang="zh-CN">
                <a:ea typeface="等线"/>
                <a:cs typeface="Calibri"/>
              </a:rPr>
              <a:t>Development of </a:t>
            </a:r>
            <a:r>
              <a:rPr lang="en-US" altLang="zh-CN" b="1">
                <a:ea typeface="等线"/>
                <a:cs typeface="Calibri"/>
              </a:rPr>
              <a:t>Songkhla port</a:t>
            </a:r>
            <a:r>
              <a:rPr lang="en-US" altLang="zh-CN">
                <a:ea typeface="等线"/>
                <a:cs typeface="Calibri"/>
              </a:rPr>
              <a:t>, growth of local industries and international trade and commerce.</a:t>
            </a:r>
          </a:p>
          <a:p>
            <a:pPr marL="285750" indent="-285750">
              <a:buFont typeface="Arial"/>
              <a:buChar char="•"/>
            </a:pPr>
            <a:r>
              <a:rPr lang="en-US" altLang="zh-CN">
                <a:ea typeface="等线"/>
                <a:cs typeface="Calibri"/>
              </a:rPr>
              <a:t>Rise up as a </a:t>
            </a:r>
            <a:r>
              <a:rPr lang="en-US" altLang="zh-CN" b="1">
                <a:ea typeface="等线"/>
                <a:cs typeface="Calibri"/>
              </a:rPr>
              <a:t>regional center</a:t>
            </a:r>
            <a:r>
              <a:rPr lang="en-US" altLang="zh-CN">
                <a:ea typeface="等线"/>
                <a:cs typeface="Calibri"/>
              </a:rPr>
              <a:t> for commodities, currency trading, offshore financing, transshipment and others (</a:t>
            </a:r>
            <a:r>
              <a:rPr lang="en-US">
                <a:ea typeface="等线"/>
                <a:cs typeface="Calibri"/>
              </a:rPr>
              <a:t>ASEAN Affairs Magazine 2009)</a:t>
            </a:r>
          </a:p>
          <a:p>
            <a:pPr marL="285750" indent="-285750">
              <a:buFont typeface="Arial"/>
              <a:buChar char="•"/>
            </a:pPr>
            <a:endParaRPr lang="en-US" altLang="zh-CN">
              <a:ea typeface="等线"/>
              <a:cs typeface="Calibri"/>
            </a:endParaRPr>
          </a:p>
          <a:p>
            <a:pPr marL="285750" indent="-285750">
              <a:buFont typeface="Arial"/>
              <a:buChar char="•"/>
            </a:pPr>
            <a:endParaRPr lang="en-US" altLang="zh-CN">
              <a:ea typeface="等线"/>
              <a:cs typeface="Calibri"/>
            </a:endParaRPr>
          </a:p>
          <a:p>
            <a:pPr marL="285750" indent="-285750">
              <a:buFont typeface="Arial"/>
              <a:buChar char="•"/>
            </a:pPr>
            <a:endParaRPr lang="zh-CN" altLang="en-US" b="1">
              <a:ea typeface="等线"/>
              <a:cs typeface="Calibri"/>
            </a:endParaRPr>
          </a:p>
          <a:p>
            <a:pPr marL="285750" indent="-285750">
              <a:buFont typeface="Arial"/>
              <a:buChar char="•"/>
            </a:pPr>
            <a:endParaRPr lang="zh-CN" altLang="en-US" b="1">
              <a:ea typeface="+mn-lt"/>
              <a:cs typeface="+mn-lt"/>
            </a:endParaRPr>
          </a:p>
          <a:p>
            <a:endParaRPr lang="en-US" altLang="zh-CN">
              <a:ea typeface="等线"/>
              <a:cs typeface="Calibri"/>
            </a:endParaRPr>
          </a:p>
        </p:txBody>
      </p:sp>
      <p:sp>
        <p:nvSpPr>
          <p:cNvPr id="24" name="TextBox 23">
            <a:extLst>
              <a:ext uri="{FF2B5EF4-FFF2-40B4-BE49-F238E27FC236}">
                <a16:creationId xmlns:a16="http://schemas.microsoft.com/office/drawing/2014/main" id="{47B8B6D6-C535-214E-81A2-32D34EA3E0E7}"/>
              </a:ext>
            </a:extLst>
          </p:cNvPr>
          <p:cNvSpPr txBox="1"/>
          <p:nvPr/>
        </p:nvSpPr>
        <p:spPr>
          <a:xfrm>
            <a:off x="221876" y="4112988"/>
            <a:ext cx="6988382" cy="2308324"/>
          </a:xfrm>
          <a:prstGeom prst="rect">
            <a:avLst/>
          </a:prstGeom>
          <a:noFill/>
        </p:spPr>
        <p:txBody>
          <a:bodyPr wrap="square">
            <a:spAutoFit/>
          </a:bodyPr>
          <a:lstStyle/>
          <a:p>
            <a:r>
              <a:rPr lang="en-US" altLang="zh-CN" b="1">
                <a:latin typeface="Aharoni" panose="02010803020104030203" pitchFamily="2" charset="-79"/>
                <a:ea typeface="等线"/>
                <a:cs typeface="Aharoni" panose="02010803020104030203" pitchFamily="2" charset="-79"/>
              </a:rPr>
              <a:t>Negative factors:</a:t>
            </a:r>
            <a:endParaRPr lang="en-US" altLang="zh-CN" b="1">
              <a:ea typeface="等线"/>
              <a:cs typeface="Calibri"/>
            </a:endParaRPr>
          </a:p>
          <a:p>
            <a:r>
              <a:rPr lang="en-US" altLang="zh-CN" b="1">
                <a:ea typeface="等线"/>
                <a:cs typeface="Calibri"/>
              </a:rPr>
              <a:t>However, risks and</a:t>
            </a:r>
            <a:r>
              <a:rPr lang="zh-CN" altLang="en-US" b="1">
                <a:ea typeface="等线"/>
                <a:cs typeface="Calibri"/>
              </a:rPr>
              <a:t> </a:t>
            </a:r>
            <a:r>
              <a:rPr lang="en-US" altLang="zh-CN" b="1">
                <a:ea typeface="等线"/>
                <a:cs typeface="Calibri"/>
              </a:rPr>
              <a:t>uncertainties are also to be managed:</a:t>
            </a:r>
          </a:p>
          <a:p>
            <a:endParaRPr lang="en-US" altLang="zh-CN" b="1">
              <a:ea typeface="等线"/>
              <a:cs typeface="Calibri"/>
            </a:endParaRPr>
          </a:p>
          <a:p>
            <a:pPr marL="285750" indent="-285750">
              <a:buFont typeface="Arial"/>
              <a:buChar char="•"/>
            </a:pPr>
            <a:r>
              <a:rPr lang="en-US" altLang="zh-CN">
                <a:ea typeface="+mn-lt"/>
                <a:cs typeface="+mn-lt"/>
              </a:rPr>
              <a:t>The project would </a:t>
            </a:r>
            <a:r>
              <a:rPr lang="zh-CN" altLang="en-US">
                <a:ea typeface="+mn-lt"/>
                <a:cs typeface="+mn-lt"/>
              </a:rPr>
              <a:t>bring </a:t>
            </a:r>
            <a:r>
              <a:rPr lang="zh-CN" altLang="en-US" b="1">
                <a:ea typeface="+mn-lt"/>
                <a:cs typeface="+mn-lt"/>
              </a:rPr>
              <a:t>huge amount of debt</a:t>
            </a:r>
            <a:endParaRPr lang="en-US" altLang="zh-CN" b="1">
              <a:ea typeface="+mn-lt"/>
              <a:cs typeface="+mn-lt"/>
            </a:endParaRPr>
          </a:p>
          <a:p>
            <a:pPr marL="285750" indent="-285750">
              <a:buFont typeface="Arial"/>
              <a:buChar char="•"/>
            </a:pPr>
            <a:r>
              <a:rPr lang="en-US" altLang="zh-CN" b="1">
                <a:ea typeface="+mn-lt"/>
                <a:cs typeface="+mn-lt"/>
              </a:rPr>
              <a:t>Unstable and unpredictable world trade volume </a:t>
            </a:r>
            <a:r>
              <a:rPr lang="en-US" altLang="zh-CN">
                <a:ea typeface="+mn-lt"/>
                <a:cs typeface="+mn-lt"/>
              </a:rPr>
              <a:t>due to trade war between China and the US, as well as the pandemic</a:t>
            </a:r>
          </a:p>
          <a:p>
            <a:pPr marL="285750" indent="-285750">
              <a:buFont typeface="Arial"/>
              <a:buChar char="•"/>
            </a:pPr>
            <a:r>
              <a:rPr lang="zh-CN" altLang="en-US" b="1">
                <a:ea typeface="等线"/>
                <a:cs typeface="Calibri"/>
              </a:rPr>
              <a:t>Low attractivness to foreign investment</a:t>
            </a:r>
            <a:r>
              <a:rPr lang="en-US" altLang="zh-CN" b="1">
                <a:ea typeface="等线"/>
                <a:cs typeface="Calibri"/>
              </a:rPr>
              <a:t>,</a:t>
            </a:r>
            <a:r>
              <a:rPr lang="zh-CN" altLang="en-US" b="1">
                <a:ea typeface="等线"/>
                <a:cs typeface="Calibri"/>
              </a:rPr>
              <a:t> </a:t>
            </a:r>
            <a:r>
              <a:rPr lang="en-US" altLang="zh-CN">
                <a:ea typeface="+mn-lt"/>
                <a:cs typeface="Calibri"/>
              </a:rPr>
              <a:t>t</a:t>
            </a:r>
            <a:r>
              <a:rPr lang="en-US">
                <a:ea typeface="+mn-lt"/>
                <a:cs typeface="Calibri"/>
              </a:rPr>
              <a:t>he Economist Intelligence Unit rated Thailand a "flawed democracy" in 2019</a:t>
            </a:r>
            <a:endParaRPr lang="zh-CN" altLang="en-US">
              <a:ea typeface="+mn-lt"/>
              <a:cs typeface="Calibri" panose="020F0502020204030204"/>
            </a:endParaRPr>
          </a:p>
        </p:txBody>
      </p:sp>
      <p:cxnSp>
        <p:nvCxnSpPr>
          <p:cNvPr id="25" name="Gerader Verbinder 23">
            <a:extLst>
              <a:ext uri="{FF2B5EF4-FFF2-40B4-BE49-F238E27FC236}">
                <a16:creationId xmlns:a16="http://schemas.microsoft.com/office/drawing/2014/main" id="{BE183910-A89A-784B-B177-94D04E417EAF}"/>
              </a:ext>
            </a:extLst>
          </p:cNvPr>
          <p:cNvCxnSpPr>
            <a:cxnSpLocks/>
          </p:cNvCxnSpPr>
          <p:nvPr/>
        </p:nvCxnSpPr>
        <p:spPr>
          <a:xfrm flipV="1">
            <a:off x="-3048" y="3923906"/>
            <a:ext cx="12195048"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8" name="Picture 7">
            <a:extLst>
              <a:ext uri="{FF2B5EF4-FFF2-40B4-BE49-F238E27FC236}">
                <a16:creationId xmlns:a16="http://schemas.microsoft.com/office/drawing/2014/main" id="{86428217-AAD6-0E4F-BEF9-09FFF74E9168}"/>
              </a:ext>
            </a:extLst>
          </p:cNvPr>
          <p:cNvPicPr>
            <a:picLocks noChangeAspect="1"/>
          </p:cNvPicPr>
          <p:nvPr/>
        </p:nvPicPr>
        <p:blipFill>
          <a:blip r:embed="rId3"/>
          <a:stretch>
            <a:fillRect/>
          </a:stretch>
        </p:blipFill>
        <p:spPr>
          <a:xfrm>
            <a:off x="7062578" y="3751262"/>
            <a:ext cx="3860800" cy="2787650"/>
          </a:xfrm>
          <a:prstGeom prst="rect">
            <a:avLst/>
          </a:prstGeom>
        </p:spPr>
      </p:pic>
    </p:spTree>
    <p:extLst>
      <p:ext uri="{BB962C8B-B14F-4D97-AF65-F5344CB8AC3E}">
        <p14:creationId xmlns:p14="http://schemas.microsoft.com/office/powerpoint/2010/main" val="1124011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5C66E887-3C9A-49ED-A9B7-634F96891EDC}"/>
              </a:ext>
            </a:extLst>
          </p:cNvPr>
          <p:cNvSpPr/>
          <p:nvPr/>
        </p:nvSpPr>
        <p:spPr>
          <a:xfrm>
            <a:off x="9589" y="-80761"/>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ea typeface="等线 Light"/>
                <a:cs typeface="Calibri Light"/>
              </a:rPr>
              <a:t>PESTLE</a:t>
            </a:r>
            <a:r>
              <a:rPr lang="de-DE" altLang="zh-CN" sz="2400">
                <a:ea typeface="等线 Light"/>
                <a:cs typeface="Calibri Light"/>
              </a:rPr>
              <a:t> </a:t>
            </a:r>
            <a:r>
              <a:rPr lang="zh-CN" altLang="en-US" sz="2400">
                <a:ea typeface="等线 Light"/>
                <a:cs typeface="Calibri Light"/>
              </a:rPr>
              <a:t>External environment analysis  </a:t>
            </a:r>
          </a:p>
        </p:txBody>
      </p:sp>
      <p:sp>
        <p:nvSpPr>
          <p:cNvPr id="20" name="Foliennummernplatzhalter 19">
            <a:extLst>
              <a:ext uri="{FF2B5EF4-FFF2-40B4-BE49-F238E27FC236}">
                <a16:creationId xmlns:a16="http://schemas.microsoft.com/office/drawing/2014/main" id="{42B74696-EA11-4967-BB31-864A589DB0FB}"/>
              </a:ext>
            </a:extLst>
          </p:cNvPr>
          <p:cNvSpPr>
            <a:spLocks noGrp="1"/>
          </p:cNvSpPr>
          <p:nvPr>
            <p:ph type="sldNum" sz="quarter" idx="12"/>
          </p:nvPr>
        </p:nvSpPr>
        <p:spPr/>
        <p:txBody>
          <a:bodyPr/>
          <a:lstStyle/>
          <a:p>
            <a:fld id="{4A0B9D2D-6490-410F-BAA1-A5DF4CF5DAF3}" type="slidenum">
              <a:rPr lang="en-GB" smtClean="0"/>
              <a:t>11</a:t>
            </a:fld>
            <a:endParaRPr lang="en-GB"/>
          </a:p>
        </p:txBody>
      </p:sp>
      <p:sp>
        <p:nvSpPr>
          <p:cNvPr id="15" name="标题 10">
            <a:extLst>
              <a:ext uri="{FF2B5EF4-FFF2-40B4-BE49-F238E27FC236}">
                <a16:creationId xmlns:a16="http://schemas.microsoft.com/office/drawing/2014/main" id="{450A45BE-C8DA-42C8-BA87-2542009EEE7C}"/>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18" name="Rechteck 17">
            <a:extLst>
              <a:ext uri="{FF2B5EF4-FFF2-40B4-BE49-F238E27FC236}">
                <a16:creationId xmlns:a16="http://schemas.microsoft.com/office/drawing/2014/main" id="{907AA1F2-AEBF-4BD5-8F43-2AB381303E80}"/>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a:t>
            </a:r>
            <a:r>
              <a:rPr lang="de-DE" altLang="zh-CN" sz="2400">
                <a:ea typeface="等线 Light"/>
                <a:cs typeface="Calibri Light"/>
              </a:rPr>
              <a:t> Analysis: Environmental </a:t>
            </a:r>
            <a:r>
              <a:rPr lang="en-CA" altLang="zh-CN" sz="2400">
                <a:ea typeface="等线 Light"/>
                <a:cs typeface="Calibri Light"/>
              </a:rPr>
              <a:t>factors</a:t>
            </a:r>
          </a:p>
        </p:txBody>
      </p:sp>
      <p:sp>
        <p:nvSpPr>
          <p:cNvPr id="22" name="Textfeld 21">
            <a:extLst>
              <a:ext uri="{FF2B5EF4-FFF2-40B4-BE49-F238E27FC236}">
                <a16:creationId xmlns:a16="http://schemas.microsoft.com/office/drawing/2014/main" id="{C02D202C-1240-41EC-B833-24DF9CB3F7CF}"/>
              </a:ext>
            </a:extLst>
          </p:cNvPr>
          <p:cNvSpPr txBox="1"/>
          <p:nvPr/>
        </p:nvSpPr>
        <p:spPr>
          <a:xfrm>
            <a:off x="221876" y="1707831"/>
            <a:ext cx="9733788" cy="1477328"/>
          </a:xfrm>
          <a:prstGeom prst="rect">
            <a:avLst/>
          </a:prstGeom>
          <a:noFill/>
        </p:spPr>
        <p:txBody>
          <a:bodyPr wrap="square" lIns="91440" tIns="45720" rIns="91440" bIns="45720" anchor="t">
            <a:spAutoFit/>
          </a:bodyPr>
          <a:lstStyle/>
          <a:p>
            <a:r>
              <a:rPr lang="en-US" altLang="zh-CN" b="1">
                <a:latin typeface="Aharoni" panose="02010803020104030203" pitchFamily="2" charset="-79"/>
                <a:ea typeface="等线"/>
                <a:cs typeface="Aharoni" panose="02010803020104030203" pitchFamily="2" charset="-79"/>
              </a:rPr>
              <a:t>Negative factors:</a:t>
            </a:r>
            <a:endParaRPr lang="en-US">
              <a:latin typeface="Calibri"/>
              <a:ea typeface="等线"/>
              <a:cs typeface="Calibri"/>
            </a:endParaRPr>
          </a:p>
          <a:p>
            <a:r>
              <a:rPr lang="en-US">
                <a:latin typeface="Calibri"/>
                <a:ea typeface="等线"/>
                <a:cs typeface="Calibri"/>
              </a:rPr>
              <a:t>Like any other major construction project, the environmental issue remains a challenge:</a:t>
            </a:r>
          </a:p>
          <a:p>
            <a:endParaRPr lang="en-US">
              <a:latin typeface="Calibri"/>
              <a:ea typeface="等线"/>
              <a:cs typeface="Calibri"/>
            </a:endParaRPr>
          </a:p>
          <a:p>
            <a:pPr marL="285750" indent="-285750">
              <a:buFont typeface="Arial"/>
              <a:buChar char="•"/>
            </a:pPr>
            <a:r>
              <a:rPr lang="en-US" b="1">
                <a:latin typeface="Calibri"/>
                <a:ea typeface="等线"/>
                <a:cs typeface="Calibri"/>
              </a:rPr>
              <a:t>Emissions </a:t>
            </a:r>
            <a:r>
              <a:rPr lang="en-US" b="1">
                <a:ea typeface="+mn-lt"/>
                <a:cs typeface="+mn-lt"/>
              </a:rPr>
              <a:t>and</a:t>
            </a:r>
            <a:r>
              <a:rPr lang="zh-CN" altLang="en-US" b="1">
                <a:ea typeface="+mn-lt"/>
                <a:cs typeface="+mn-lt"/>
              </a:rPr>
              <a:t> </a:t>
            </a:r>
            <a:r>
              <a:rPr lang="en-US" altLang="zh-CN" b="1">
                <a:ea typeface="+mn-lt"/>
                <a:cs typeface="+mn-lt"/>
              </a:rPr>
              <a:t>oil </a:t>
            </a:r>
            <a:r>
              <a:rPr lang="en-US" b="1">
                <a:ea typeface="+mn-lt"/>
                <a:cs typeface="+mn-lt"/>
              </a:rPr>
              <a:t>spills </a:t>
            </a:r>
            <a:r>
              <a:rPr lang="en-US">
                <a:ea typeface="+mn-lt"/>
                <a:cs typeface="+mn-lt"/>
              </a:rPr>
              <a:t>caused by ship activities</a:t>
            </a:r>
          </a:p>
          <a:p>
            <a:pPr marL="285750" indent="-285750">
              <a:buFont typeface="Arial"/>
              <a:buChar char="•"/>
            </a:pPr>
            <a:r>
              <a:rPr lang="en-US" b="1">
                <a:ea typeface="+mn-lt"/>
                <a:cs typeface="+mn-lt"/>
              </a:rPr>
              <a:t>Destruction </a:t>
            </a:r>
            <a:r>
              <a:rPr lang="en-US">
                <a:ea typeface="+mn-lt"/>
                <a:cs typeface="+mn-lt"/>
              </a:rPr>
              <a:t>of </a:t>
            </a:r>
            <a:r>
              <a:rPr lang="en-US" b="1">
                <a:ea typeface="+mn-lt"/>
                <a:cs typeface="+mn-lt"/>
              </a:rPr>
              <a:t>marine habitat</a:t>
            </a:r>
            <a:r>
              <a:rPr lang="en-US">
                <a:ea typeface="+mn-lt"/>
                <a:cs typeface="+mn-lt"/>
              </a:rPr>
              <a:t>, </a:t>
            </a:r>
            <a:r>
              <a:rPr lang="en-US" b="1">
                <a:ea typeface="+mn-lt"/>
                <a:cs typeface="+mn-lt"/>
              </a:rPr>
              <a:t>biodiversity and ecosystem</a:t>
            </a:r>
            <a:endParaRPr lang="en-US" b="1">
              <a:cs typeface="Calibri" panose="020F0502020204030204"/>
            </a:endParaRPr>
          </a:p>
        </p:txBody>
      </p:sp>
      <p:pic>
        <p:nvPicPr>
          <p:cNvPr id="2" name="图片 2">
            <a:extLst>
              <a:ext uri="{FF2B5EF4-FFF2-40B4-BE49-F238E27FC236}">
                <a16:creationId xmlns:a16="http://schemas.microsoft.com/office/drawing/2014/main" id="{C24390F1-92EA-4A94-B8B1-1B876C7D2E2C}"/>
              </a:ext>
            </a:extLst>
          </p:cNvPr>
          <p:cNvPicPr>
            <a:picLocks noChangeAspect="1"/>
          </p:cNvPicPr>
          <p:nvPr/>
        </p:nvPicPr>
        <p:blipFill>
          <a:blip r:embed="rId3"/>
          <a:stretch>
            <a:fillRect/>
          </a:stretch>
        </p:blipFill>
        <p:spPr>
          <a:xfrm>
            <a:off x="8702059" y="3917328"/>
            <a:ext cx="2308362" cy="2269225"/>
          </a:xfrm>
          <a:prstGeom prst="rect">
            <a:avLst/>
          </a:prstGeom>
        </p:spPr>
      </p:pic>
      <p:sp>
        <p:nvSpPr>
          <p:cNvPr id="4" name="文本框 3">
            <a:extLst>
              <a:ext uri="{FF2B5EF4-FFF2-40B4-BE49-F238E27FC236}">
                <a16:creationId xmlns:a16="http://schemas.microsoft.com/office/drawing/2014/main" id="{BFB68138-DEC7-4816-81A8-6AC3055A38F0}"/>
              </a:ext>
            </a:extLst>
          </p:cNvPr>
          <p:cNvSpPr txBox="1"/>
          <p:nvPr/>
        </p:nvSpPr>
        <p:spPr>
          <a:xfrm>
            <a:off x="221876" y="3917328"/>
            <a:ext cx="7523966"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zh-CN">
                <a:ea typeface="等线"/>
                <a:cs typeface="Calibri"/>
              </a:rPr>
              <a:t>Furthermore, climate changes bring in a new competitor -- Northern Sea Route:</a:t>
            </a:r>
            <a:endParaRPr lang="zh-CN" altLang="en-US">
              <a:ea typeface="等线"/>
            </a:endParaRPr>
          </a:p>
          <a:p>
            <a:pPr marL="285750" indent="-285750">
              <a:buFont typeface="Arial"/>
              <a:buChar char="•"/>
            </a:pPr>
            <a:r>
              <a:rPr lang="en-US" altLang="zh-CN" b="1">
                <a:latin typeface="Calibri"/>
                <a:ea typeface="等线"/>
                <a:cs typeface="Calibri"/>
              </a:rPr>
              <a:t>Global warming </a:t>
            </a:r>
            <a:r>
              <a:rPr lang="en-US" altLang="zh-CN">
                <a:latin typeface="Calibri"/>
                <a:ea typeface="等线"/>
                <a:cs typeface="Calibri"/>
              </a:rPr>
              <a:t>makes a shipping</a:t>
            </a:r>
            <a:r>
              <a:rPr lang="zh-CN" altLang="en-US">
                <a:latin typeface="Calibri"/>
                <a:ea typeface="等线"/>
                <a:cs typeface="Calibri"/>
              </a:rPr>
              <a:t> </a:t>
            </a:r>
            <a:r>
              <a:rPr lang="en-US" altLang="zh-CN">
                <a:latin typeface="Calibri"/>
                <a:ea typeface="等线"/>
                <a:cs typeface="Calibri"/>
              </a:rPr>
              <a:t>route via</a:t>
            </a:r>
            <a:r>
              <a:rPr lang="zh-CN" altLang="en-US">
                <a:latin typeface="Calibri"/>
                <a:ea typeface="等线"/>
                <a:cs typeface="Calibri"/>
              </a:rPr>
              <a:t> </a:t>
            </a:r>
            <a:r>
              <a:rPr lang="en-US" altLang="zh-CN" b="1">
                <a:latin typeface="Calibri"/>
                <a:ea typeface="等线"/>
                <a:cs typeface="Calibri"/>
              </a:rPr>
              <a:t>Arctic Ocean</a:t>
            </a:r>
            <a:r>
              <a:rPr lang="zh-CN" altLang="en-US" b="1">
                <a:latin typeface="Calibri"/>
                <a:ea typeface="等线"/>
                <a:cs typeface="Calibri"/>
              </a:rPr>
              <a:t> </a:t>
            </a:r>
            <a:r>
              <a:rPr lang="en-US" altLang="zh-CN">
                <a:latin typeface="Calibri"/>
                <a:ea typeface="等线"/>
                <a:cs typeface="Calibri"/>
              </a:rPr>
              <a:t>possible, for detailed comparisons see on next slide's table</a:t>
            </a:r>
          </a:p>
        </p:txBody>
      </p:sp>
      <p:pic>
        <p:nvPicPr>
          <p:cNvPr id="2050" name="Picture 2" descr="Major oil spill washes ashore in California, killing wildlife | Environment  News | Al Jazeera">
            <a:extLst>
              <a:ext uri="{FF2B5EF4-FFF2-40B4-BE49-F238E27FC236}">
                <a16:creationId xmlns:a16="http://schemas.microsoft.com/office/drawing/2014/main" id="{D6ECC88C-5149-334B-8EBB-F793835E9F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02059" y="1410977"/>
            <a:ext cx="3007513" cy="2003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770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表格 3">
            <a:extLst>
              <a:ext uri="{FF2B5EF4-FFF2-40B4-BE49-F238E27FC236}">
                <a16:creationId xmlns:a16="http://schemas.microsoft.com/office/drawing/2014/main" id="{2018C1A4-704C-4C5F-8DFB-23B75E3C047E}"/>
              </a:ext>
            </a:extLst>
          </p:cNvPr>
          <p:cNvGraphicFramePr>
            <a:graphicFrameLocks noGrp="1"/>
          </p:cNvGraphicFramePr>
          <p:nvPr>
            <p:extLst>
              <p:ext uri="{D42A27DB-BD31-4B8C-83A1-F6EECF244321}">
                <p14:modId xmlns:p14="http://schemas.microsoft.com/office/powerpoint/2010/main" val="3201546068"/>
              </p:ext>
            </p:extLst>
          </p:nvPr>
        </p:nvGraphicFramePr>
        <p:xfrm>
          <a:off x="531875" y="1028513"/>
          <a:ext cx="11062716" cy="5610865"/>
        </p:xfrm>
        <a:graphic>
          <a:graphicData uri="http://schemas.openxmlformats.org/drawingml/2006/table">
            <a:tbl>
              <a:tblPr firstRow="1" bandRow="1">
                <a:tableStyleId>{073A0DAA-6AF3-43AB-8588-CEC1D06C72B9}</a:tableStyleId>
              </a:tblPr>
              <a:tblGrid>
                <a:gridCol w="1240475">
                  <a:extLst>
                    <a:ext uri="{9D8B030D-6E8A-4147-A177-3AD203B41FA5}">
                      <a16:colId xmlns:a16="http://schemas.microsoft.com/office/drawing/2014/main" val="3295636862"/>
                    </a:ext>
                  </a:extLst>
                </a:gridCol>
                <a:gridCol w="1049873">
                  <a:extLst>
                    <a:ext uri="{9D8B030D-6E8A-4147-A177-3AD203B41FA5}">
                      <a16:colId xmlns:a16="http://schemas.microsoft.com/office/drawing/2014/main" val="2398669603"/>
                    </a:ext>
                  </a:extLst>
                </a:gridCol>
                <a:gridCol w="920438">
                  <a:extLst>
                    <a:ext uri="{9D8B030D-6E8A-4147-A177-3AD203B41FA5}">
                      <a16:colId xmlns:a16="http://schemas.microsoft.com/office/drawing/2014/main" val="4104475770"/>
                    </a:ext>
                  </a:extLst>
                </a:gridCol>
                <a:gridCol w="7851930">
                  <a:extLst>
                    <a:ext uri="{9D8B030D-6E8A-4147-A177-3AD203B41FA5}">
                      <a16:colId xmlns:a16="http://schemas.microsoft.com/office/drawing/2014/main" val="2647450680"/>
                    </a:ext>
                  </a:extLst>
                </a:gridCol>
              </a:tblGrid>
              <a:tr h="278752">
                <a:tc rowSpan="2">
                  <a:txBody>
                    <a:bodyPr/>
                    <a:lstStyle/>
                    <a:p>
                      <a:pPr algn="ctr" fontAlgn="ctr"/>
                      <a:r>
                        <a:rPr lang="en-AU" sz="1100" noProof="0">
                          <a:effectLst/>
                        </a:rPr>
                        <a:t>Element</a:t>
                      </a:r>
                    </a:p>
                  </a:txBody>
                  <a:tcPr marL="47625" marR="47625" marT="47625" marB="47625" anchor="ctr"/>
                </a:tc>
                <a:tc gridSpan="2">
                  <a:txBody>
                    <a:bodyPr/>
                    <a:lstStyle/>
                    <a:p>
                      <a:pPr algn="l"/>
                      <a:r>
                        <a:rPr lang="en-AU" sz="1100" noProof="0">
                          <a:effectLst/>
                        </a:rPr>
                        <a:t>Maritime Routes (via)</a:t>
                      </a:r>
                    </a:p>
                  </a:txBody>
                  <a:tcPr marL="47625" marR="47625" marT="47625" marB="47625" anchor="ctr"/>
                </a:tc>
                <a:tc hMerge="1">
                  <a:txBody>
                    <a:bodyPr/>
                    <a:lstStyle/>
                    <a:p>
                      <a:endParaRPr lang="zh-CN" altLang="en-US"/>
                    </a:p>
                  </a:txBody>
                  <a:tcPr/>
                </a:tc>
                <a:tc rowSpan="2">
                  <a:txBody>
                    <a:bodyPr/>
                    <a:lstStyle/>
                    <a:p>
                      <a:pPr algn="ctr" fontAlgn="ctr"/>
                      <a:r>
                        <a:rPr lang="en-AU" sz="1100" noProof="0">
                          <a:solidFill>
                            <a:schemeClr val="bg1"/>
                          </a:solidFill>
                          <a:effectLst/>
                        </a:rPr>
                        <a:t>Statement</a:t>
                      </a:r>
                    </a:p>
                  </a:txBody>
                  <a:tcPr marL="47625" marR="47625" marT="47625" marB="47625" anchor="ctr"/>
                </a:tc>
                <a:extLst>
                  <a:ext uri="{0D108BD9-81ED-4DB2-BD59-A6C34878D82A}">
                    <a16:rowId xmlns:a16="http://schemas.microsoft.com/office/drawing/2014/main" val="796158048"/>
                  </a:ext>
                </a:extLst>
              </a:tr>
              <a:tr h="526532">
                <a:tc vMerge="1">
                  <a:txBody>
                    <a:bodyPr/>
                    <a:lstStyle/>
                    <a:p>
                      <a:endParaRPr lang="zh-CN" altLang="en-US"/>
                    </a:p>
                  </a:txBody>
                  <a:tcPr/>
                </a:tc>
                <a:tc>
                  <a:txBody>
                    <a:bodyPr/>
                    <a:lstStyle/>
                    <a:p>
                      <a:pPr algn="l"/>
                      <a:r>
                        <a:rPr lang="en-AU" sz="1100" noProof="0">
                          <a:solidFill>
                            <a:schemeClr val="bg1"/>
                          </a:solidFill>
                          <a:effectLst/>
                        </a:rPr>
                        <a:t>Suez Canal (SC)</a:t>
                      </a:r>
                    </a:p>
                  </a:txBody>
                  <a:tcPr marL="47625" marR="47625" marT="47625" marB="47625" anchor="ctr">
                    <a:solidFill>
                      <a:schemeClr val="tx1"/>
                    </a:solidFill>
                  </a:tcPr>
                </a:tc>
                <a:tc>
                  <a:txBody>
                    <a:bodyPr/>
                    <a:lstStyle/>
                    <a:p>
                      <a:pPr algn="l"/>
                      <a:r>
                        <a:rPr lang="en-AU" sz="1100" noProof="0">
                          <a:solidFill>
                            <a:schemeClr val="bg1"/>
                          </a:solidFill>
                          <a:effectLst/>
                        </a:rPr>
                        <a:t>Northern Sea Route (NSR)</a:t>
                      </a:r>
                    </a:p>
                  </a:txBody>
                  <a:tcPr marL="47625" marR="47625" marT="47625" marB="47625" anchor="ctr">
                    <a:solidFill>
                      <a:schemeClr val="tx1"/>
                    </a:solidFill>
                  </a:tcPr>
                </a:tc>
                <a:tc vMerge="1">
                  <a:txBody>
                    <a:bodyPr/>
                    <a:lstStyle/>
                    <a:p>
                      <a:endParaRPr lang="zh-CN" altLang="en-US"/>
                    </a:p>
                  </a:txBody>
                  <a:tcPr/>
                </a:tc>
                <a:extLst>
                  <a:ext uri="{0D108BD9-81ED-4DB2-BD59-A6C34878D82A}">
                    <a16:rowId xmlns:a16="http://schemas.microsoft.com/office/drawing/2014/main" val="1548159870"/>
                  </a:ext>
                </a:extLst>
              </a:tr>
              <a:tr h="755986">
                <a:tc>
                  <a:txBody>
                    <a:bodyPr/>
                    <a:lstStyle/>
                    <a:p>
                      <a:r>
                        <a:rPr lang="en-AU" sz="1200" noProof="0">
                          <a:effectLst/>
                        </a:rPr>
                        <a:t>Distance (nm)</a:t>
                      </a:r>
                    </a:p>
                  </a:txBody>
                  <a:tcPr marL="47625" marR="47625" marT="47625" marB="47625" anchor="ctr"/>
                </a:tc>
                <a:tc>
                  <a:txBody>
                    <a:bodyPr/>
                    <a:lstStyle/>
                    <a:p>
                      <a:r>
                        <a:rPr lang="en-AU" altLang="zh-CN" sz="1200" noProof="0">
                          <a:effectLst/>
                        </a:rPr>
                        <a:t>11585</a:t>
                      </a:r>
                    </a:p>
                  </a:txBody>
                  <a:tcPr marL="47625" marR="47625" marT="47625" marB="47625" anchor="ctr"/>
                </a:tc>
                <a:tc>
                  <a:txBody>
                    <a:bodyPr/>
                    <a:lstStyle/>
                    <a:p>
                      <a:r>
                        <a:rPr lang="en-AU" altLang="zh-CN" sz="1200" noProof="0">
                          <a:solidFill>
                            <a:srgbClr val="FF0000"/>
                          </a:solidFill>
                          <a:effectLst/>
                        </a:rPr>
                        <a:t>7356</a:t>
                      </a:r>
                    </a:p>
                  </a:txBody>
                  <a:tcPr marL="47625" marR="47625" marT="47625" marB="47625" anchor="ctr"/>
                </a:tc>
                <a:tc>
                  <a:txBody>
                    <a:bodyPr/>
                    <a:lstStyle/>
                    <a:p>
                      <a:r>
                        <a:rPr lang="en-AU" sz="1200" noProof="0">
                          <a:solidFill>
                            <a:schemeClr val="bg2">
                              <a:lumMod val="25000"/>
                            </a:schemeClr>
                          </a:solidFill>
                          <a:effectLst/>
                        </a:rPr>
                        <a:t>[Far East vs. N.W. Europe] Yokohama - Hamburg Suez Route (11,585 N.M.) vs.</a:t>
                      </a:r>
                      <a:br>
                        <a:rPr lang="en-AU" sz="1200" noProof="0">
                          <a:solidFill>
                            <a:schemeClr val="bg2">
                              <a:lumMod val="25000"/>
                            </a:schemeClr>
                          </a:solidFill>
                          <a:effectLst/>
                        </a:rPr>
                      </a:br>
                      <a:r>
                        <a:rPr lang="en-AU" sz="1200" noProof="0">
                          <a:solidFill>
                            <a:schemeClr val="bg2">
                              <a:lumMod val="25000"/>
                            </a:schemeClr>
                          </a:solidFill>
                          <a:effectLst/>
                        </a:rPr>
                        <a:t>NSR Route (7,356 N.M./-36%)</a:t>
                      </a:r>
                      <a:br>
                        <a:rPr lang="en-AU" sz="1200" noProof="0">
                          <a:solidFill>
                            <a:schemeClr val="bg2">
                              <a:lumMod val="25000"/>
                            </a:schemeClr>
                          </a:solidFill>
                          <a:effectLst/>
                        </a:rPr>
                      </a:br>
                      <a:r>
                        <a:rPr lang="en-AU" sz="1200" noProof="0">
                          <a:solidFill>
                            <a:schemeClr val="bg2">
                              <a:lumMod val="25000"/>
                            </a:schemeClr>
                          </a:solidFill>
                          <a:effectLst/>
                        </a:rPr>
                        <a:t>The navigation distance from Northwest European port to Far East via NSR is an approximately 36% shorter compared Suez Canal route.</a:t>
                      </a:r>
                    </a:p>
                  </a:txBody>
                  <a:tcPr marL="47625" marR="47625" marT="47625" marB="47625" anchor="ctr"/>
                </a:tc>
                <a:extLst>
                  <a:ext uri="{0D108BD9-81ED-4DB2-BD59-A6C34878D82A}">
                    <a16:rowId xmlns:a16="http://schemas.microsoft.com/office/drawing/2014/main" val="3457876904"/>
                  </a:ext>
                </a:extLst>
              </a:tr>
              <a:tr h="480073">
                <a:tc>
                  <a:txBody>
                    <a:bodyPr/>
                    <a:lstStyle/>
                    <a:p>
                      <a:r>
                        <a:rPr lang="en-AU" sz="1200" noProof="0">
                          <a:effectLst/>
                        </a:rPr>
                        <a:t>Fuel Consumption</a:t>
                      </a:r>
                    </a:p>
                  </a:txBody>
                  <a:tcPr marL="47625" marR="47625" marT="47625" marB="47625" anchor="ctr"/>
                </a:tc>
                <a:tc>
                  <a:txBody>
                    <a:bodyPr/>
                    <a:lstStyle/>
                    <a:p>
                      <a:r>
                        <a:rPr lang="en-AU" sz="1200" noProof="0">
                          <a:effectLst/>
                        </a:rPr>
                        <a:t>High</a:t>
                      </a:r>
                    </a:p>
                  </a:txBody>
                  <a:tcPr marL="47625" marR="47625" marT="47625" marB="47625" anchor="ctr"/>
                </a:tc>
                <a:tc>
                  <a:txBody>
                    <a:bodyPr/>
                    <a:lstStyle/>
                    <a:p>
                      <a:r>
                        <a:rPr lang="en-AU" sz="1200" noProof="0">
                          <a:solidFill>
                            <a:srgbClr val="FF0000"/>
                          </a:solidFill>
                          <a:effectLst/>
                        </a:rPr>
                        <a:t>Low</a:t>
                      </a:r>
                    </a:p>
                  </a:txBody>
                  <a:tcPr marL="47625" marR="47625" marT="47625" marB="47625" anchor="ctr"/>
                </a:tc>
                <a:tc>
                  <a:txBody>
                    <a:bodyPr/>
                    <a:lstStyle/>
                    <a:p>
                      <a:r>
                        <a:rPr lang="en-AU" sz="1200" noProof="0">
                          <a:solidFill>
                            <a:schemeClr val="bg2">
                              <a:lumMod val="25000"/>
                            </a:schemeClr>
                          </a:solidFill>
                          <a:effectLst/>
                        </a:rPr>
                        <a:t>Norway to China:</a:t>
                      </a:r>
                      <a:br>
                        <a:rPr lang="en-AU" sz="1200" noProof="0">
                          <a:solidFill>
                            <a:schemeClr val="bg2">
                              <a:lumMod val="25000"/>
                            </a:schemeClr>
                          </a:solidFill>
                          <a:effectLst/>
                        </a:rPr>
                      </a:br>
                      <a:r>
                        <a:rPr lang="en-AU" sz="1200" noProof="0">
                          <a:solidFill>
                            <a:schemeClr val="bg2">
                              <a:lumMod val="25000"/>
                            </a:schemeClr>
                          </a:solidFill>
                          <a:effectLst/>
                        </a:rPr>
                        <a:t>Shipping via the NSR save $550,000 in fuel costs compared to the journey via Suez Canal (Bulk Ship named MV Nordic Barents)</a:t>
                      </a:r>
                    </a:p>
                  </a:txBody>
                  <a:tcPr marL="47625" marR="47625" marT="47625" marB="47625" anchor="ctr"/>
                </a:tc>
                <a:extLst>
                  <a:ext uri="{0D108BD9-81ED-4DB2-BD59-A6C34878D82A}">
                    <a16:rowId xmlns:a16="http://schemas.microsoft.com/office/drawing/2014/main" val="3424003348"/>
                  </a:ext>
                </a:extLst>
              </a:tr>
              <a:tr h="464588">
                <a:tc>
                  <a:txBody>
                    <a:bodyPr/>
                    <a:lstStyle/>
                    <a:p>
                      <a:r>
                        <a:rPr lang="en-AU" sz="1200" noProof="0">
                          <a:effectLst/>
                        </a:rPr>
                        <a:t>Journey Time</a:t>
                      </a:r>
                    </a:p>
                  </a:txBody>
                  <a:tcPr marL="47625" marR="47625" marT="47625" marB="47625" anchor="ctr"/>
                </a:tc>
                <a:tc>
                  <a:txBody>
                    <a:bodyPr/>
                    <a:lstStyle/>
                    <a:p>
                      <a:r>
                        <a:rPr lang="en-AU" sz="1200" noProof="0">
                          <a:effectLst/>
                        </a:rPr>
                        <a:t>32 days (15 knots)</a:t>
                      </a:r>
                    </a:p>
                  </a:txBody>
                  <a:tcPr marL="47625" marR="47625" marT="47625" marB="47625" anchor="ctr"/>
                </a:tc>
                <a:tc>
                  <a:txBody>
                    <a:bodyPr/>
                    <a:lstStyle/>
                    <a:p>
                      <a:r>
                        <a:rPr lang="en-AU" sz="1200" noProof="0">
                          <a:solidFill>
                            <a:srgbClr val="FF0000"/>
                          </a:solidFill>
                          <a:effectLst/>
                        </a:rPr>
                        <a:t>18 days (15 knots)</a:t>
                      </a:r>
                    </a:p>
                  </a:txBody>
                  <a:tcPr marL="47625" marR="47625" marT="47625" marB="47625" anchor="ctr"/>
                </a:tc>
                <a:tc>
                  <a:txBody>
                    <a:bodyPr/>
                    <a:lstStyle/>
                    <a:p>
                      <a:r>
                        <a:rPr lang="en-AU" sz="1200" noProof="0">
                          <a:solidFill>
                            <a:schemeClr val="bg2">
                              <a:lumMod val="25000"/>
                            </a:schemeClr>
                          </a:solidFill>
                          <a:effectLst/>
                        </a:rPr>
                        <a:t>North-West Europe (London) to Far East (Yokohama) Shipping via the NSR save 14 days on the journey compared to via the Suez Canal by using same speed</a:t>
                      </a:r>
                    </a:p>
                  </a:txBody>
                  <a:tcPr marL="47625" marR="47625" marT="47625" marB="47625" anchor="ctr"/>
                </a:tc>
                <a:extLst>
                  <a:ext uri="{0D108BD9-81ED-4DB2-BD59-A6C34878D82A}">
                    <a16:rowId xmlns:a16="http://schemas.microsoft.com/office/drawing/2014/main" val="962775377"/>
                  </a:ext>
                </a:extLst>
              </a:tr>
              <a:tr h="464588">
                <a:tc>
                  <a:txBody>
                    <a:bodyPr/>
                    <a:lstStyle/>
                    <a:p>
                      <a:r>
                        <a:rPr lang="en-AU" sz="1200" noProof="0">
                          <a:effectLst/>
                        </a:rPr>
                        <a:t>Speed (Knots)</a:t>
                      </a:r>
                    </a:p>
                  </a:txBody>
                  <a:tcPr marL="47625" marR="47625" marT="47625" marB="47625" anchor="ctr"/>
                </a:tc>
                <a:tc>
                  <a:txBody>
                    <a:bodyPr/>
                    <a:lstStyle/>
                    <a:p>
                      <a:r>
                        <a:rPr lang="en-AU" sz="1200" noProof="0">
                          <a:effectLst/>
                        </a:rPr>
                        <a:t>15 knots 32 days</a:t>
                      </a:r>
                    </a:p>
                  </a:txBody>
                  <a:tcPr marL="47625" marR="47625" marT="47625" marB="47625" anchor="ctr"/>
                </a:tc>
                <a:tc>
                  <a:txBody>
                    <a:bodyPr/>
                    <a:lstStyle/>
                    <a:p>
                      <a:r>
                        <a:rPr lang="en-AU" sz="1200" noProof="0">
                          <a:effectLst/>
                        </a:rPr>
                        <a:t>9 knots 32 days</a:t>
                      </a:r>
                    </a:p>
                  </a:txBody>
                  <a:tcPr marL="47625" marR="47625" marT="47625" marB="47625" anchor="ctr"/>
                </a:tc>
                <a:tc>
                  <a:txBody>
                    <a:bodyPr/>
                    <a:lstStyle/>
                    <a:p>
                      <a:pPr lvl="0" algn="l">
                        <a:lnSpc>
                          <a:spcPct val="100000"/>
                        </a:lnSpc>
                        <a:spcBef>
                          <a:spcPts val="0"/>
                        </a:spcBef>
                        <a:spcAft>
                          <a:spcPts val="0"/>
                        </a:spcAft>
                        <a:buNone/>
                      </a:pPr>
                      <a:r>
                        <a:rPr lang="en-AU" sz="1200" b="0" i="0" u="none" strike="noStrike" noProof="0">
                          <a:solidFill>
                            <a:schemeClr val="bg2">
                              <a:lumMod val="25000"/>
                            </a:schemeClr>
                          </a:solidFill>
                          <a:effectLst/>
                          <a:latin typeface="Calibri"/>
                        </a:rPr>
                        <a:t>North-West</a:t>
                      </a:r>
                      <a:r>
                        <a:rPr lang="en-AU" sz="1200" noProof="0">
                          <a:solidFill>
                            <a:schemeClr val="bg2">
                              <a:lumMod val="25000"/>
                            </a:schemeClr>
                          </a:solidFill>
                          <a:effectLst/>
                        </a:rPr>
                        <a:t> Europe (London) to Far East (Yokohama) Shipping via the NSR using speed only 9 knots on the journey compared to via the Suez Canal by using 15 knots on speed</a:t>
                      </a:r>
                      <a:endParaRPr lang="en-US">
                        <a:solidFill>
                          <a:schemeClr val="bg2">
                            <a:lumMod val="25000"/>
                          </a:schemeClr>
                        </a:solidFill>
                      </a:endParaRPr>
                    </a:p>
                  </a:txBody>
                  <a:tcPr marL="47625" marR="47625" marT="47625" marB="47625" anchor="ctr"/>
                </a:tc>
                <a:extLst>
                  <a:ext uri="{0D108BD9-81ED-4DB2-BD59-A6C34878D82A}">
                    <a16:rowId xmlns:a16="http://schemas.microsoft.com/office/drawing/2014/main" val="3787443376"/>
                  </a:ext>
                </a:extLst>
              </a:tr>
              <a:tr h="836257">
                <a:tc>
                  <a:txBody>
                    <a:bodyPr/>
                    <a:lstStyle/>
                    <a:p>
                      <a:r>
                        <a:rPr lang="en-AU" sz="1200" noProof="0">
                          <a:effectLst/>
                        </a:rPr>
                        <a:t>Piracy</a:t>
                      </a:r>
                    </a:p>
                  </a:txBody>
                  <a:tcPr marL="47625" marR="47625" marT="47625" marB="47625" anchor="ctr"/>
                </a:tc>
                <a:tc>
                  <a:txBody>
                    <a:bodyPr/>
                    <a:lstStyle/>
                    <a:p>
                      <a:r>
                        <a:rPr lang="en-AU" sz="1200" noProof="0">
                          <a:effectLst/>
                        </a:rPr>
                        <a:t>Yes</a:t>
                      </a:r>
                    </a:p>
                  </a:txBody>
                  <a:tcPr marL="47625" marR="47625" marT="47625" marB="47625" anchor="ctr"/>
                </a:tc>
                <a:tc>
                  <a:txBody>
                    <a:bodyPr/>
                    <a:lstStyle/>
                    <a:p>
                      <a:r>
                        <a:rPr lang="en-AU" sz="1200" noProof="0">
                          <a:solidFill>
                            <a:srgbClr val="FF0000"/>
                          </a:solidFill>
                          <a:effectLst/>
                        </a:rPr>
                        <a:t>No</a:t>
                      </a:r>
                    </a:p>
                  </a:txBody>
                  <a:tcPr marL="47625" marR="47625" marT="47625" marB="47625" anchor="ctr"/>
                </a:tc>
                <a:tc>
                  <a:txBody>
                    <a:bodyPr/>
                    <a:lstStyle/>
                    <a:p>
                      <a:r>
                        <a:rPr lang="en-AU" sz="1200" noProof="0">
                          <a:solidFill>
                            <a:schemeClr val="bg2">
                              <a:lumMod val="25000"/>
                            </a:schemeClr>
                          </a:solidFill>
                          <a:effectLst/>
                        </a:rPr>
                        <a:t>There is also much reduced level of piracy through this northern route, compared to the risk of piracy for ships in the Indian Ocean that are using the Suez Canal</a:t>
                      </a:r>
                      <a:br>
                        <a:rPr lang="en-AU" sz="1200" noProof="0">
                          <a:solidFill>
                            <a:schemeClr val="bg2">
                              <a:lumMod val="25000"/>
                            </a:schemeClr>
                          </a:solidFill>
                          <a:effectLst/>
                        </a:rPr>
                      </a:br>
                      <a:r>
                        <a:rPr lang="en-AU" sz="1200" noProof="0">
                          <a:solidFill>
                            <a:schemeClr val="bg2">
                              <a:lumMod val="25000"/>
                            </a:schemeClr>
                          </a:solidFill>
                          <a:effectLst/>
                        </a:rPr>
                        <a:t>A maritime route with transhipments (T/S) includes T/S charges at T/S ports.</a:t>
                      </a:r>
                      <a:br>
                        <a:rPr lang="en-AU" sz="1200" noProof="0">
                          <a:solidFill>
                            <a:schemeClr val="bg2">
                              <a:lumMod val="25000"/>
                            </a:schemeClr>
                          </a:solidFill>
                          <a:effectLst/>
                        </a:rPr>
                      </a:br>
                      <a:r>
                        <a:rPr lang="en-AU" sz="1200" noProof="0">
                          <a:solidFill>
                            <a:schemeClr val="bg2">
                              <a:lumMod val="25000"/>
                            </a:schemeClr>
                          </a:solidFill>
                          <a:effectLst/>
                        </a:rPr>
                        <a:t>NSR Fee USD 674 per TEU</a:t>
                      </a:r>
                    </a:p>
                  </a:txBody>
                  <a:tcPr marL="47625" marR="47625" marT="47625" marB="47625" anchor="ctr"/>
                </a:tc>
                <a:extLst>
                  <a:ext uri="{0D108BD9-81ED-4DB2-BD59-A6C34878D82A}">
                    <a16:rowId xmlns:a16="http://schemas.microsoft.com/office/drawing/2014/main" val="1404869427"/>
                  </a:ext>
                </a:extLst>
              </a:tr>
              <a:tr h="464588">
                <a:tc>
                  <a:txBody>
                    <a:bodyPr/>
                    <a:lstStyle/>
                    <a:p>
                      <a:r>
                        <a:rPr lang="en-AU" sz="1200" noProof="0">
                          <a:effectLst/>
                        </a:rPr>
                        <a:t>Fee</a:t>
                      </a:r>
                    </a:p>
                  </a:txBody>
                  <a:tcPr marL="47625" marR="47625" marT="47625" marB="47625" anchor="ctr"/>
                </a:tc>
                <a:tc>
                  <a:txBody>
                    <a:bodyPr/>
                    <a:lstStyle/>
                    <a:p>
                      <a:r>
                        <a:rPr lang="en-AU" sz="1200" noProof="0">
                          <a:solidFill>
                            <a:schemeClr val="tx1"/>
                          </a:solidFill>
                          <a:effectLst/>
                        </a:rPr>
                        <a:t>Low</a:t>
                      </a:r>
                    </a:p>
                  </a:txBody>
                  <a:tcPr marL="47625" marR="47625" marT="47625" marB="47625" anchor="ctr"/>
                </a:tc>
                <a:tc>
                  <a:txBody>
                    <a:bodyPr/>
                    <a:lstStyle/>
                    <a:p>
                      <a:r>
                        <a:rPr lang="en-AU" sz="1200" noProof="0">
                          <a:effectLst/>
                        </a:rPr>
                        <a:t>High</a:t>
                      </a:r>
                    </a:p>
                  </a:txBody>
                  <a:tcPr marL="47625" marR="47625" marT="47625" marB="47625" anchor="ctr"/>
                </a:tc>
                <a:tc>
                  <a:txBody>
                    <a:bodyPr/>
                    <a:lstStyle/>
                    <a:p>
                      <a:r>
                        <a:rPr lang="en-AU" sz="1200" noProof="0">
                          <a:solidFill>
                            <a:schemeClr val="bg2">
                              <a:lumMod val="25000"/>
                            </a:schemeClr>
                          </a:solidFill>
                          <a:effectLst/>
                        </a:rPr>
                        <a:t>Suez Canal Fee (SDR/GT) for the 1st 5,000GTx USD7.88+2nd 5,000GTx USD5.15+; 3rd 10,000GTxUSD4.12+;4th 20,000GTxUSD2.88+; 5th 30,000GTxUSD2.6+70,000GT(+)xUSD2.11</a:t>
                      </a:r>
                    </a:p>
                  </a:txBody>
                  <a:tcPr marL="47625" marR="47625" marT="47625" marB="47625" anchor="ctr"/>
                </a:tc>
                <a:extLst>
                  <a:ext uri="{0D108BD9-81ED-4DB2-BD59-A6C34878D82A}">
                    <a16:rowId xmlns:a16="http://schemas.microsoft.com/office/drawing/2014/main" val="825455876"/>
                  </a:ext>
                </a:extLst>
              </a:tr>
              <a:tr h="421540">
                <a:tc>
                  <a:txBody>
                    <a:bodyPr/>
                    <a:lstStyle/>
                    <a:p>
                      <a:r>
                        <a:rPr lang="en-AU" sz="1200" noProof="0">
                          <a:effectLst/>
                        </a:rPr>
                        <a:t>Transport Cost</a:t>
                      </a:r>
                    </a:p>
                  </a:txBody>
                  <a:tcPr marL="47625" marR="47625" marT="47625" marB="47625" anchor="ctr"/>
                </a:tc>
                <a:tc>
                  <a:txBody>
                    <a:bodyPr/>
                    <a:lstStyle/>
                    <a:p>
                      <a:r>
                        <a:rPr lang="en-AU" sz="1200" noProof="0">
                          <a:effectLst/>
                        </a:rPr>
                        <a:t>High</a:t>
                      </a:r>
                    </a:p>
                  </a:txBody>
                  <a:tcPr marL="47625" marR="47625" marT="47625" marB="47625" anchor="ctr"/>
                </a:tc>
                <a:tc>
                  <a:txBody>
                    <a:bodyPr/>
                    <a:lstStyle/>
                    <a:p>
                      <a:r>
                        <a:rPr lang="en-AU" sz="1200" noProof="0">
                          <a:solidFill>
                            <a:srgbClr val="FF0000"/>
                          </a:solidFill>
                          <a:effectLst/>
                        </a:rPr>
                        <a:t>Low</a:t>
                      </a:r>
                    </a:p>
                  </a:txBody>
                  <a:tcPr marL="47625" marR="47625" marT="47625" marB="47625" anchor="ctr"/>
                </a:tc>
                <a:tc>
                  <a:txBody>
                    <a:bodyPr/>
                    <a:lstStyle/>
                    <a:p>
                      <a:pPr lvl="0">
                        <a:buNone/>
                      </a:pPr>
                      <a:r>
                        <a:rPr lang="en-AU" sz="1200" b="0" i="0" u="none" strike="noStrike" noProof="0">
                          <a:solidFill>
                            <a:schemeClr val="bg2">
                              <a:lumMod val="25000"/>
                            </a:schemeClr>
                          </a:solidFill>
                          <a:effectLst/>
                          <a:latin typeface="Calibri"/>
                        </a:rPr>
                        <a:t>North-West </a:t>
                      </a:r>
                      <a:r>
                        <a:rPr lang="en-AU" sz="1200" noProof="0">
                          <a:solidFill>
                            <a:schemeClr val="bg2">
                              <a:lumMod val="25000"/>
                            </a:schemeClr>
                          </a:solidFill>
                          <a:effectLst/>
                        </a:rPr>
                        <a:t>Europe (Hamburg) to Far East (Yokohama) Transport cost via NSR (USD/TEU) &lt;1,123 Via Suez Canal (USD/TEU) 1,299</a:t>
                      </a:r>
                    </a:p>
                  </a:txBody>
                  <a:tcPr marL="47625" marR="47625" marT="47625" marB="47625" anchor="ctr"/>
                </a:tc>
                <a:extLst>
                  <a:ext uri="{0D108BD9-81ED-4DB2-BD59-A6C34878D82A}">
                    <a16:rowId xmlns:a16="http://schemas.microsoft.com/office/drawing/2014/main" val="4125948049"/>
                  </a:ext>
                </a:extLst>
              </a:tr>
              <a:tr h="634935">
                <a:tc>
                  <a:txBody>
                    <a:bodyPr/>
                    <a:lstStyle/>
                    <a:p>
                      <a:r>
                        <a:rPr lang="en-AU" sz="1200" noProof="0">
                          <a:effectLst/>
                        </a:rPr>
                        <a:t>Cost Saving</a:t>
                      </a:r>
                    </a:p>
                  </a:txBody>
                  <a:tcPr marL="47625" marR="47625" marT="47625" marB="47625" anchor="ctr"/>
                </a:tc>
                <a:tc>
                  <a:txBody>
                    <a:bodyPr/>
                    <a:lstStyle/>
                    <a:p>
                      <a:r>
                        <a:rPr lang="en-AU" sz="1200" noProof="0">
                          <a:effectLst/>
                        </a:rPr>
                        <a:t>Low</a:t>
                      </a:r>
                    </a:p>
                  </a:txBody>
                  <a:tcPr marL="47625" marR="47625" marT="47625" marB="47625" anchor="ctr"/>
                </a:tc>
                <a:tc>
                  <a:txBody>
                    <a:bodyPr/>
                    <a:lstStyle/>
                    <a:p>
                      <a:r>
                        <a:rPr lang="en-AU" sz="1200" noProof="0">
                          <a:solidFill>
                            <a:srgbClr val="FF0000"/>
                          </a:solidFill>
                          <a:effectLst/>
                        </a:rPr>
                        <a:t>High</a:t>
                      </a:r>
                    </a:p>
                  </a:txBody>
                  <a:tcPr marL="47625" marR="47625" marT="47625" marB="47625" anchor="ctr"/>
                </a:tc>
                <a:tc>
                  <a:txBody>
                    <a:bodyPr/>
                    <a:lstStyle/>
                    <a:p>
                      <a:r>
                        <a:rPr lang="en-AU" sz="1200" noProof="0">
                          <a:solidFill>
                            <a:schemeClr val="bg2">
                              <a:lumMod val="25000"/>
                            </a:schemeClr>
                          </a:solidFill>
                          <a:effectLst/>
                        </a:rPr>
                        <a:t>Cost analysis may heavily depend on changes of bunker oil and ship-building prices as well as NSR, and Suez Canal fees. Thus, the shipping scenarios including navigation conditions would be a key factor to the cost analysis here. Severe competition will be expected among NSR and Suez Canals in the near future</a:t>
                      </a:r>
                    </a:p>
                  </a:txBody>
                  <a:tcPr marL="47625" marR="47625" marT="47625" marB="47625" anchor="ctr"/>
                </a:tc>
                <a:extLst>
                  <a:ext uri="{0D108BD9-81ED-4DB2-BD59-A6C34878D82A}">
                    <a16:rowId xmlns:a16="http://schemas.microsoft.com/office/drawing/2014/main" val="1788827450"/>
                  </a:ext>
                </a:extLst>
              </a:tr>
            </a:tbl>
          </a:graphicData>
        </a:graphic>
      </p:graphicFrame>
      <p:sp>
        <p:nvSpPr>
          <p:cNvPr id="13" name="Rechteck 12">
            <a:extLst>
              <a:ext uri="{FF2B5EF4-FFF2-40B4-BE49-F238E27FC236}">
                <a16:creationId xmlns:a16="http://schemas.microsoft.com/office/drawing/2014/main" id="{7400E012-90ED-48B6-9273-9B5D5F0B64C0}"/>
              </a:ext>
            </a:extLst>
          </p:cNvPr>
          <p:cNvSpPr/>
          <p:nvPr/>
        </p:nvSpPr>
        <p:spPr>
          <a:xfrm>
            <a:off x="0" y="2795"/>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a:ea typeface="等线"/>
                <a:cs typeface="Calibri"/>
              </a:rPr>
              <a:t>Environment: new </a:t>
            </a:r>
            <a:r>
              <a:rPr lang="en-CA" altLang="zh-CN" sz="2400" b="1">
                <a:ea typeface="等线"/>
                <a:cs typeface="Calibri"/>
              </a:rPr>
              <a:t>competitor </a:t>
            </a:r>
            <a:r>
              <a:rPr lang="zh-CN" altLang="en-US" sz="2400" b="1">
                <a:ea typeface="等线"/>
                <a:cs typeface="Calibri"/>
              </a:rPr>
              <a:t>emerge</a:t>
            </a:r>
            <a:r>
              <a:rPr lang="en-US" altLang="zh-CN" sz="2400" b="1">
                <a:ea typeface="等线"/>
                <a:cs typeface="Calibri"/>
              </a:rPr>
              <a:t>s</a:t>
            </a:r>
            <a:endParaRPr lang="zh-CN" altLang="en-US" sz="2400" b="1">
              <a:ea typeface="等线"/>
              <a:cs typeface="Calibri"/>
            </a:endParaRPr>
          </a:p>
          <a:p>
            <a:r>
              <a:rPr lang="zh-CN" altLang="en-US" sz="2400">
                <a:ea typeface="等线"/>
                <a:cs typeface="Calibri"/>
              </a:rPr>
              <a:t>Global warming makes a long time route through </a:t>
            </a:r>
            <a:r>
              <a:rPr lang="en-US" altLang="zh-CN" sz="2400" b="1">
                <a:ea typeface="等线"/>
                <a:cs typeface="Calibri"/>
              </a:rPr>
              <a:t>A</a:t>
            </a:r>
            <a:r>
              <a:rPr lang="zh-CN" altLang="en-US" sz="2400" b="1">
                <a:ea typeface="等线"/>
                <a:cs typeface="Calibri"/>
              </a:rPr>
              <a:t>rctic sea </a:t>
            </a:r>
            <a:r>
              <a:rPr lang="zh-CN" altLang="en-US" sz="2400">
                <a:ea typeface="等线"/>
                <a:cs typeface="Calibri"/>
              </a:rPr>
              <a:t>possible </a:t>
            </a:r>
          </a:p>
        </p:txBody>
      </p:sp>
      <p:sp>
        <p:nvSpPr>
          <p:cNvPr id="15" name="Foliennummernplatzhalter 6">
            <a:extLst>
              <a:ext uri="{FF2B5EF4-FFF2-40B4-BE49-F238E27FC236}">
                <a16:creationId xmlns:a16="http://schemas.microsoft.com/office/drawing/2014/main" id="{BFA43FAA-BFC6-4B11-B8A6-0B0E37C99945}"/>
              </a:ext>
            </a:extLst>
          </p:cNvPr>
          <p:cNvSpPr>
            <a:spLocks noGrp="1"/>
          </p:cNvSpPr>
          <p:nvPr>
            <p:ph type="sldNum" sz="quarter" idx="12"/>
          </p:nvPr>
        </p:nvSpPr>
        <p:spPr>
          <a:xfrm>
            <a:off x="8610600" y="6356350"/>
            <a:ext cx="2743200" cy="365125"/>
          </a:xfrm>
        </p:spPr>
        <p:txBody>
          <a:bodyPr/>
          <a:lstStyle/>
          <a:p>
            <a:fld id="{4A0B9D2D-6490-410F-BAA1-A5DF4CF5DAF3}" type="slidenum">
              <a:rPr lang="en-GB" smtClean="0"/>
              <a:t>12</a:t>
            </a:fld>
            <a:endParaRPr lang="en-GB"/>
          </a:p>
        </p:txBody>
      </p:sp>
    </p:spTree>
    <p:extLst>
      <p:ext uri="{BB962C8B-B14F-4D97-AF65-F5344CB8AC3E}">
        <p14:creationId xmlns:p14="http://schemas.microsoft.com/office/powerpoint/2010/main" val="3648886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body of water with ice and snow on it&#10;&#10;Description automatically generated with low confidence">
            <a:extLst>
              <a:ext uri="{FF2B5EF4-FFF2-40B4-BE49-F238E27FC236}">
                <a16:creationId xmlns:a16="http://schemas.microsoft.com/office/drawing/2014/main" id="{359D4928-C8BA-47FB-ADA9-A184D4509E65}"/>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28200"/>
          <a:stretch/>
        </p:blipFill>
        <p:spPr>
          <a:xfrm>
            <a:off x="2562726" y="1"/>
            <a:ext cx="9629274" cy="6857999"/>
          </a:xfrm>
          <a:prstGeom prst="rect">
            <a:avLst/>
          </a:prstGeom>
        </p:spPr>
      </p:pic>
      <p:sp>
        <p:nvSpPr>
          <p:cNvPr id="19" name="Freeform: Shape 10">
            <a:extLst>
              <a:ext uri="{FF2B5EF4-FFF2-40B4-BE49-F238E27FC236}">
                <a16:creationId xmlns:a16="http://schemas.microsoft.com/office/drawing/2014/main" id="{D928DD85-BB99-450D-A702-2683E0296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675431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12">
            <a:extLst>
              <a:ext uri="{FF2B5EF4-FFF2-40B4-BE49-F238E27FC236}">
                <a16:creationId xmlns:a16="http://schemas.microsoft.com/office/drawing/2014/main" id="{240E5BD2-4019-4012-A1AA-628900E659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478"/>
            <a:ext cx="5953780"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0066270-25A3-492B-B1CD-ADABD7B17E05}"/>
              </a:ext>
            </a:extLst>
          </p:cNvPr>
          <p:cNvSpPr>
            <a:spLocks noGrp="1"/>
          </p:cNvSpPr>
          <p:nvPr>
            <p:ph type="title"/>
          </p:nvPr>
        </p:nvSpPr>
        <p:spPr>
          <a:xfrm>
            <a:off x="804672" y="960132"/>
            <a:ext cx="3879232" cy="2248122"/>
          </a:xfrm>
        </p:spPr>
        <p:txBody>
          <a:bodyPr vert="horz" lIns="91440" tIns="45720" rIns="91440" bIns="45720" rtlCol="0" anchor="b">
            <a:normAutofit/>
          </a:bodyPr>
          <a:lstStyle/>
          <a:p>
            <a:r>
              <a:rPr lang="en-US" sz="3400"/>
              <a:t>Climate Data Analysis</a:t>
            </a:r>
            <a:br>
              <a:rPr lang="en-US" sz="3400"/>
            </a:br>
            <a:r>
              <a:rPr lang="en-US" sz="3400"/>
              <a:t>-- Diversion to the </a:t>
            </a:r>
            <a:br>
              <a:rPr lang="en-US" sz="3400"/>
            </a:br>
            <a:r>
              <a:rPr lang="en-US" sz="3400"/>
              <a:t>Northern Sea Route</a:t>
            </a:r>
          </a:p>
        </p:txBody>
      </p:sp>
      <p:sp>
        <p:nvSpPr>
          <p:cNvPr id="5" name="Foliennummernplatzhalter 4">
            <a:extLst>
              <a:ext uri="{FF2B5EF4-FFF2-40B4-BE49-F238E27FC236}">
                <a16:creationId xmlns:a16="http://schemas.microsoft.com/office/drawing/2014/main" id="{EEF775A1-9C5F-4D38-96CE-88171C4DE478}"/>
              </a:ext>
            </a:extLst>
          </p:cNvPr>
          <p:cNvSpPr>
            <a:spLocks noGrp="1"/>
          </p:cNvSpPr>
          <p:nvPr>
            <p:ph type="sldNum" sz="quarter" idx="12"/>
          </p:nvPr>
        </p:nvSpPr>
        <p:spPr/>
        <p:txBody>
          <a:bodyPr/>
          <a:lstStyle/>
          <a:p>
            <a:fld id="{4A0B9D2D-6490-410F-BAA1-A5DF4CF5DAF3}" type="slidenum">
              <a:rPr lang="en-GB" smtClean="0"/>
              <a:t>13</a:t>
            </a:fld>
            <a:endParaRPr lang="en-GB"/>
          </a:p>
        </p:txBody>
      </p:sp>
    </p:spTree>
    <p:extLst>
      <p:ext uri="{BB962C8B-B14F-4D97-AF65-F5344CB8AC3E}">
        <p14:creationId xmlns:p14="http://schemas.microsoft.com/office/powerpoint/2010/main" val="933643179"/>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dy of water with ice and snow on it&#10;&#10;Description automatically generated with low confidence">
            <a:extLst>
              <a:ext uri="{FF2B5EF4-FFF2-40B4-BE49-F238E27FC236}">
                <a16:creationId xmlns:a16="http://schemas.microsoft.com/office/drawing/2014/main" id="{4519734F-E187-4E19-88E1-6D5804607822}"/>
              </a:ext>
            </a:extLst>
          </p:cNvPr>
          <p:cNvPicPr>
            <a:picLocks noChangeAspect="1"/>
          </p:cNvPicPr>
          <p:nvPr/>
        </p:nvPicPr>
        <p:blipFill rotWithShape="1">
          <a:blip r:embed="rId3">
            <a:extLst>
              <a:ext uri="{28A0092B-C50C-407E-A947-70E740481C1C}">
                <a14:useLocalDpi xmlns:a14="http://schemas.microsoft.com/office/drawing/2010/main" val="0"/>
              </a:ext>
            </a:extLst>
          </a:blip>
          <a:srcRect l="965" t="48202" r="602" b="29735"/>
          <a:stretch/>
        </p:blipFill>
        <p:spPr>
          <a:xfrm rot="10800000" flipV="1">
            <a:off x="0" y="0"/>
            <a:ext cx="12192000" cy="1537161"/>
          </a:xfrm>
          <a:prstGeom prst="rect">
            <a:avLst/>
          </a:prstGeom>
        </p:spPr>
      </p:pic>
      <p:sp>
        <p:nvSpPr>
          <p:cNvPr id="6" name="Rectangle 5">
            <a:extLst>
              <a:ext uri="{FF2B5EF4-FFF2-40B4-BE49-F238E27FC236}">
                <a16:creationId xmlns:a16="http://schemas.microsoft.com/office/drawing/2014/main" id="{B0698DA7-CCBF-4F25-80A2-209C24DE3F1F}"/>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14194"/>
            <a:endParaRPr lang="de-DE">
              <a:ea typeface="+mn-lt"/>
              <a:cs typeface="+mn-lt"/>
            </a:endParaRPr>
          </a:p>
          <a:p>
            <a:pPr defTabSz="914194"/>
            <a:r>
              <a:rPr lang="de-DE">
                <a:ea typeface="+mn-lt"/>
                <a:cs typeface="+mn-lt"/>
              </a:rPr>
              <a:t>  Climate Data Analysis</a:t>
            </a:r>
            <a:endParaRPr lang="en-US">
              <a:cs typeface="Calibri"/>
            </a:endParaRPr>
          </a:p>
          <a:p>
            <a:pPr algn="ctr" defTabSz="914194"/>
            <a:endParaRPr lang="en-US"/>
          </a:p>
        </p:txBody>
      </p:sp>
      <mc:AlternateContent xmlns:mc="http://schemas.openxmlformats.org/markup-compatibility/2006">
        <mc:Choice xmlns:p14="http://schemas.microsoft.com/office/powerpoint/2010/main" Requires="p14">
          <p:contentPart p14:bwMode="auto" r:id="rId4">
            <p14:nvContentPartPr>
              <p14:cNvPr id="8" name="Ink 7">
                <a:extLst>
                  <a:ext uri="{FF2B5EF4-FFF2-40B4-BE49-F238E27FC236}">
                    <a16:creationId xmlns:a16="http://schemas.microsoft.com/office/drawing/2014/main" id="{D99A034E-2262-4C8B-BF89-CFF3F8947930}"/>
                  </a:ext>
                </a:extLst>
              </p14:cNvPr>
              <p14:cNvContentPartPr/>
              <p14:nvPr/>
            </p14:nvContentPartPr>
            <p14:xfrm>
              <a:off x="4048125" y="2690812"/>
              <a:ext cx="9524" cy="9524"/>
            </p14:xfrm>
          </p:contentPart>
        </mc:Choice>
        <mc:Fallback>
          <p:pic>
            <p:nvPicPr>
              <p:cNvPr id="8" name="Ink 7">
                <a:extLst>
                  <a:ext uri="{FF2B5EF4-FFF2-40B4-BE49-F238E27FC236}">
                    <a16:creationId xmlns:a16="http://schemas.microsoft.com/office/drawing/2014/main" id="{D99A034E-2262-4C8B-BF89-CFF3F8947930}"/>
                  </a:ext>
                </a:extLst>
              </p:cNvPr>
              <p:cNvPicPr/>
              <p:nvPr/>
            </p:nvPicPr>
            <p:blipFill>
              <a:blip r:embed="rId5"/>
              <a:stretch>
                <a:fillRect/>
              </a:stretch>
            </p:blipFill>
            <p:spPr>
              <a:xfrm>
                <a:off x="3571925" y="2214612"/>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9" name="Ink 8">
                <a:extLst>
                  <a:ext uri="{FF2B5EF4-FFF2-40B4-BE49-F238E27FC236}">
                    <a16:creationId xmlns:a16="http://schemas.microsoft.com/office/drawing/2014/main" id="{ED5EE1F2-516A-4A61-A7FB-0F1C876FDD33}"/>
                  </a:ext>
                </a:extLst>
              </p14:cNvPr>
              <p14:cNvContentPartPr/>
              <p14:nvPr/>
            </p14:nvContentPartPr>
            <p14:xfrm>
              <a:off x="4048125" y="2690812"/>
              <a:ext cx="9524" cy="9524"/>
            </p14:xfrm>
          </p:contentPart>
        </mc:Choice>
        <mc:Fallback>
          <p:pic>
            <p:nvPicPr>
              <p:cNvPr id="9" name="Ink 8">
                <a:extLst>
                  <a:ext uri="{FF2B5EF4-FFF2-40B4-BE49-F238E27FC236}">
                    <a16:creationId xmlns:a16="http://schemas.microsoft.com/office/drawing/2014/main" id="{ED5EE1F2-516A-4A61-A7FB-0F1C876FDD33}"/>
                  </a:ext>
                </a:extLst>
              </p:cNvPr>
              <p:cNvPicPr/>
              <p:nvPr/>
            </p:nvPicPr>
            <p:blipFill>
              <a:blip r:embed="rId5"/>
              <a:stretch>
                <a:fillRect/>
              </a:stretch>
            </p:blipFill>
            <p:spPr>
              <a:xfrm>
                <a:off x="3571925" y="2214612"/>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10" name="Ink 9">
                <a:extLst>
                  <a:ext uri="{FF2B5EF4-FFF2-40B4-BE49-F238E27FC236}">
                    <a16:creationId xmlns:a16="http://schemas.microsoft.com/office/drawing/2014/main" id="{D9C73F3A-7A4C-4D06-94A3-CBBC305F92C0}"/>
                  </a:ext>
                </a:extLst>
              </p14:cNvPr>
              <p14:cNvContentPartPr/>
              <p14:nvPr/>
            </p14:nvContentPartPr>
            <p14:xfrm>
              <a:off x="4036219" y="2750344"/>
              <a:ext cx="9524" cy="9524"/>
            </p14:xfrm>
          </p:contentPart>
        </mc:Choice>
        <mc:Fallback>
          <p:pic>
            <p:nvPicPr>
              <p:cNvPr id="10" name="Ink 9">
                <a:extLst>
                  <a:ext uri="{FF2B5EF4-FFF2-40B4-BE49-F238E27FC236}">
                    <a16:creationId xmlns:a16="http://schemas.microsoft.com/office/drawing/2014/main" id="{D9C73F3A-7A4C-4D06-94A3-CBBC305F92C0}"/>
                  </a:ext>
                </a:extLst>
              </p:cNvPr>
              <p:cNvPicPr/>
              <p:nvPr/>
            </p:nvPicPr>
            <p:blipFill>
              <a:blip r:embed="rId5"/>
              <a:stretch>
                <a:fillRect/>
              </a:stretch>
            </p:blipFill>
            <p:spPr>
              <a:xfrm>
                <a:off x="3560019" y="2274144"/>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11" name="Ink 10">
                <a:extLst>
                  <a:ext uri="{FF2B5EF4-FFF2-40B4-BE49-F238E27FC236}">
                    <a16:creationId xmlns:a16="http://schemas.microsoft.com/office/drawing/2014/main" id="{88520504-9B2E-4724-BC85-8F7068FE7912}"/>
                  </a:ext>
                </a:extLst>
              </p14:cNvPr>
              <p14:cNvContentPartPr/>
              <p14:nvPr/>
            </p14:nvContentPartPr>
            <p14:xfrm>
              <a:off x="4036219" y="2750344"/>
              <a:ext cx="9524" cy="9524"/>
            </p14:xfrm>
          </p:contentPart>
        </mc:Choice>
        <mc:Fallback>
          <p:pic>
            <p:nvPicPr>
              <p:cNvPr id="11" name="Ink 10">
                <a:extLst>
                  <a:ext uri="{FF2B5EF4-FFF2-40B4-BE49-F238E27FC236}">
                    <a16:creationId xmlns:a16="http://schemas.microsoft.com/office/drawing/2014/main" id="{88520504-9B2E-4724-BC85-8F7068FE7912}"/>
                  </a:ext>
                </a:extLst>
              </p:cNvPr>
              <p:cNvPicPr/>
              <p:nvPr/>
            </p:nvPicPr>
            <p:blipFill>
              <a:blip r:embed="rId5"/>
              <a:stretch>
                <a:fillRect/>
              </a:stretch>
            </p:blipFill>
            <p:spPr>
              <a:xfrm>
                <a:off x="3560019" y="2274144"/>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12" name="Ink 11">
                <a:extLst>
                  <a:ext uri="{FF2B5EF4-FFF2-40B4-BE49-F238E27FC236}">
                    <a16:creationId xmlns:a16="http://schemas.microsoft.com/office/drawing/2014/main" id="{DA453E7C-C0C3-44B3-85E4-70748B7B0A3E}"/>
                  </a:ext>
                </a:extLst>
              </p14:cNvPr>
              <p14:cNvContentPartPr/>
              <p14:nvPr/>
            </p14:nvContentPartPr>
            <p14:xfrm>
              <a:off x="3750469" y="3238500"/>
              <a:ext cx="9524" cy="9524"/>
            </p14:xfrm>
          </p:contentPart>
        </mc:Choice>
        <mc:Fallback>
          <p:pic>
            <p:nvPicPr>
              <p:cNvPr id="12" name="Ink 11">
                <a:extLst>
                  <a:ext uri="{FF2B5EF4-FFF2-40B4-BE49-F238E27FC236}">
                    <a16:creationId xmlns:a16="http://schemas.microsoft.com/office/drawing/2014/main" id="{DA453E7C-C0C3-44B3-85E4-70748B7B0A3E}"/>
                  </a:ext>
                </a:extLst>
              </p:cNvPr>
              <p:cNvPicPr/>
              <p:nvPr/>
            </p:nvPicPr>
            <p:blipFill>
              <a:blip r:embed="rId5"/>
              <a:stretch>
                <a:fillRect/>
              </a:stretch>
            </p:blipFill>
            <p:spPr>
              <a:xfrm>
                <a:off x="3274269" y="2762300"/>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3" name="Ink 12">
                <a:extLst>
                  <a:ext uri="{FF2B5EF4-FFF2-40B4-BE49-F238E27FC236}">
                    <a16:creationId xmlns:a16="http://schemas.microsoft.com/office/drawing/2014/main" id="{A3319A48-41FE-4282-B82C-4959A6EB9CED}"/>
                  </a:ext>
                </a:extLst>
              </p14:cNvPr>
              <p14:cNvContentPartPr/>
              <p14:nvPr/>
            </p14:nvContentPartPr>
            <p14:xfrm>
              <a:off x="4250531" y="2607469"/>
              <a:ext cx="9524" cy="9524"/>
            </p14:xfrm>
          </p:contentPart>
        </mc:Choice>
        <mc:Fallback>
          <p:pic>
            <p:nvPicPr>
              <p:cNvPr id="13" name="Ink 12">
                <a:extLst>
                  <a:ext uri="{FF2B5EF4-FFF2-40B4-BE49-F238E27FC236}">
                    <a16:creationId xmlns:a16="http://schemas.microsoft.com/office/drawing/2014/main" id="{A3319A48-41FE-4282-B82C-4959A6EB9CED}"/>
                  </a:ext>
                </a:extLst>
              </p:cNvPr>
              <p:cNvPicPr/>
              <p:nvPr/>
            </p:nvPicPr>
            <p:blipFill>
              <a:blip r:embed="rId5"/>
              <a:stretch>
                <a:fillRect/>
              </a:stretch>
            </p:blipFill>
            <p:spPr>
              <a:xfrm>
                <a:off x="3774331" y="2131269"/>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4" name="Ink 13">
                <a:extLst>
                  <a:ext uri="{FF2B5EF4-FFF2-40B4-BE49-F238E27FC236}">
                    <a16:creationId xmlns:a16="http://schemas.microsoft.com/office/drawing/2014/main" id="{1817F00F-7F25-4C26-BCD4-289C1A8CB04F}"/>
                  </a:ext>
                </a:extLst>
              </p14:cNvPr>
              <p14:cNvContentPartPr/>
              <p14:nvPr/>
            </p14:nvContentPartPr>
            <p14:xfrm>
              <a:off x="3810000" y="3286125"/>
              <a:ext cx="9524" cy="9524"/>
            </p14:xfrm>
          </p:contentPart>
        </mc:Choice>
        <mc:Fallback>
          <p:pic>
            <p:nvPicPr>
              <p:cNvPr id="14" name="Ink 13">
                <a:extLst>
                  <a:ext uri="{FF2B5EF4-FFF2-40B4-BE49-F238E27FC236}">
                    <a16:creationId xmlns:a16="http://schemas.microsoft.com/office/drawing/2014/main" id="{1817F00F-7F25-4C26-BCD4-289C1A8CB04F}"/>
                  </a:ext>
                </a:extLst>
              </p:cNvPr>
              <p:cNvPicPr/>
              <p:nvPr/>
            </p:nvPicPr>
            <p:blipFill>
              <a:blip r:embed="rId5"/>
              <a:stretch>
                <a:fillRect/>
              </a:stretch>
            </p:blipFill>
            <p:spPr>
              <a:xfrm>
                <a:off x="3333800" y="2809925"/>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5" name="Ink 14">
                <a:extLst>
                  <a:ext uri="{FF2B5EF4-FFF2-40B4-BE49-F238E27FC236}">
                    <a16:creationId xmlns:a16="http://schemas.microsoft.com/office/drawing/2014/main" id="{1CBC7342-3292-42C3-9DA5-FD379A3516B2}"/>
                  </a:ext>
                </a:extLst>
              </p14:cNvPr>
              <p14:cNvContentPartPr/>
              <p14:nvPr/>
            </p14:nvContentPartPr>
            <p14:xfrm>
              <a:off x="4083844" y="3662409"/>
              <a:ext cx="9524" cy="9524"/>
            </p14:xfrm>
          </p:contentPart>
        </mc:Choice>
        <mc:Fallback>
          <p:pic>
            <p:nvPicPr>
              <p:cNvPr id="15" name="Ink 14">
                <a:extLst>
                  <a:ext uri="{FF2B5EF4-FFF2-40B4-BE49-F238E27FC236}">
                    <a16:creationId xmlns:a16="http://schemas.microsoft.com/office/drawing/2014/main" id="{1CBC7342-3292-42C3-9DA5-FD379A3516B2}"/>
                  </a:ext>
                </a:extLst>
              </p:cNvPr>
              <p:cNvPicPr/>
              <p:nvPr/>
            </p:nvPicPr>
            <p:blipFill>
              <a:blip r:embed="rId13"/>
              <a:stretch>
                <a:fillRect/>
              </a:stretch>
            </p:blipFill>
            <p:spPr>
              <a:xfrm>
                <a:off x="3607644" y="3628395"/>
                <a:ext cx="952400" cy="76872"/>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6" name="Ink 15">
                <a:extLst>
                  <a:ext uri="{FF2B5EF4-FFF2-40B4-BE49-F238E27FC236}">
                    <a16:creationId xmlns:a16="http://schemas.microsoft.com/office/drawing/2014/main" id="{557450A4-D23B-4359-AA81-FD6E262B979F}"/>
                  </a:ext>
                </a:extLst>
              </p14:cNvPr>
              <p14:cNvContentPartPr/>
              <p14:nvPr/>
            </p14:nvContentPartPr>
            <p14:xfrm>
              <a:off x="4083844" y="3655219"/>
              <a:ext cx="9524" cy="9524"/>
            </p14:xfrm>
          </p:contentPart>
        </mc:Choice>
        <mc:Fallback>
          <p:pic>
            <p:nvPicPr>
              <p:cNvPr id="16" name="Ink 15">
                <a:extLst>
                  <a:ext uri="{FF2B5EF4-FFF2-40B4-BE49-F238E27FC236}">
                    <a16:creationId xmlns:a16="http://schemas.microsoft.com/office/drawing/2014/main" id="{557450A4-D23B-4359-AA81-FD6E262B979F}"/>
                  </a:ext>
                </a:extLst>
              </p:cNvPr>
              <p:cNvPicPr/>
              <p:nvPr/>
            </p:nvPicPr>
            <p:blipFill>
              <a:blip r:embed="rId5"/>
              <a:stretch>
                <a:fillRect/>
              </a:stretch>
            </p:blipFill>
            <p:spPr>
              <a:xfrm>
                <a:off x="3607644" y="3179019"/>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7" name="Ink 16">
                <a:extLst>
                  <a:ext uri="{FF2B5EF4-FFF2-40B4-BE49-F238E27FC236}">
                    <a16:creationId xmlns:a16="http://schemas.microsoft.com/office/drawing/2014/main" id="{175CBFDA-C76A-49EB-BE1D-80A5BEEA015C}"/>
                  </a:ext>
                </a:extLst>
              </p14:cNvPr>
              <p14:cNvContentPartPr/>
              <p14:nvPr/>
            </p14:nvContentPartPr>
            <p14:xfrm>
              <a:off x="2416969" y="3452812"/>
              <a:ext cx="9524" cy="9524"/>
            </p14:xfrm>
          </p:contentPart>
        </mc:Choice>
        <mc:Fallback>
          <p:pic>
            <p:nvPicPr>
              <p:cNvPr id="17" name="Ink 16">
                <a:extLst>
                  <a:ext uri="{FF2B5EF4-FFF2-40B4-BE49-F238E27FC236}">
                    <a16:creationId xmlns:a16="http://schemas.microsoft.com/office/drawing/2014/main" id="{175CBFDA-C76A-49EB-BE1D-80A5BEEA015C}"/>
                  </a:ext>
                </a:extLst>
              </p:cNvPr>
              <p:cNvPicPr/>
              <p:nvPr/>
            </p:nvPicPr>
            <p:blipFill>
              <a:blip r:embed="rId5"/>
              <a:stretch>
                <a:fillRect/>
              </a:stretch>
            </p:blipFill>
            <p:spPr>
              <a:xfrm>
                <a:off x="1940769" y="2976612"/>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8" name="Ink 17">
                <a:extLst>
                  <a:ext uri="{FF2B5EF4-FFF2-40B4-BE49-F238E27FC236}">
                    <a16:creationId xmlns:a16="http://schemas.microsoft.com/office/drawing/2014/main" id="{14774DC9-B781-4544-AC4D-A7C689940E63}"/>
                  </a:ext>
                </a:extLst>
              </p14:cNvPr>
              <p14:cNvContentPartPr/>
              <p14:nvPr/>
            </p14:nvContentPartPr>
            <p14:xfrm>
              <a:off x="9489281" y="4333875"/>
              <a:ext cx="9524" cy="9524"/>
            </p14:xfrm>
          </p:contentPart>
        </mc:Choice>
        <mc:Fallback>
          <p:pic>
            <p:nvPicPr>
              <p:cNvPr id="18" name="Ink 17">
                <a:extLst>
                  <a:ext uri="{FF2B5EF4-FFF2-40B4-BE49-F238E27FC236}">
                    <a16:creationId xmlns:a16="http://schemas.microsoft.com/office/drawing/2014/main" id="{14774DC9-B781-4544-AC4D-A7C689940E63}"/>
                  </a:ext>
                </a:extLst>
              </p:cNvPr>
              <p:cNvPicPr/>
              <p:nvPr/>
            </p:nvPicPr>
            <p:blipFill>
              <a:blip r:embed="rId5"/>
              <a:stretch>
                <a:fillRect/>
              </a:stretch>
            </p:blipFill>
            <p:spPr>
              <a:xfrm>
                <a:off x="9013081" y="3857675"/>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9" name="Ink 18">
                <a:extLst>
                  <a:ext uri="{FF2B5EF4-FFF2-40B4-BE49-F238E27FC236}">
                    <a16:creationId xmlns:a16="http://schemas.microsoft.com/office/drawing/2014/main" id="{1CF9E306-2B12-49E5-827A-6D59F9E0F3F3}"/>
                  </a:ext>
                </a:extLst>
              </p14:cNvPr>
              <p14:cNvContentPartPr/>
              <p14:nvPr/>
            </p14:nvContentPartPr>
            <p14:xfrm>
              <a:off x="3619500" y="3488531"/>
              <a:ext cx="9524" cy="9524"/>
            </p14:xfrm>
          </p:contentPart>
        </mc:Choice>
        <mc:Fallback>
          <p:pic>
            <p:nvPicPr>
              <p:cNvPr id="19" name="Ink 18">
                <a:extLst>
                  <a:ext uri="{FF2B5EF4-FFF2-40B4-BE49-F238E27FC236}">
                    <a16:creationId xmlns:a16="http://schemas.microsoft.com/office/drawing/2014/main" id="{1CF9E306-2B12-49E5-827A-6D59F9E0F3F3}"/>
                  </a:ext>
                </a:extLst>
              </p:cNvPr>
              <p:cNvPicPr/>
              <p:nvPr/>
            </p:nvPicPr>
            <p:blipFill>
              <a:blip r:embed="rId5"/>
              <a:stretch>
                <a:fillRect/>
              </a:stretch>
            </p:blipFill>
            <p:spPr>
              <a:xfrm>
                <a:off x="3143300" y="3012331"/>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20" name="Ink 19">
                <a:extLst>
                  <a:ext uri="{FF2B5EF4-FFF2-40B4-BE49-F238E27FC236}">
                    <a16:creationId xmlns:a16="http://schemas.microsoft.com/office/drawing/2014/main" id="{2EAF0499-EE1F-41FF-B825-459F87A8EC97}"/>
                  </a:ext>
                </a:extLst>
              </p14:cNvPr>
              <p14:cNvContentPartPr/>
              <p14:nvPr/>
            </p14:nvContentPartPr>
            <p14:xfrm>
              <a:off x="3619500" y="3488531"/>
              <a:ext cx="9524" cy="9524"/>
            </p14:xfrm>
          </p:contentPart>
        </mc:Choice>
        <mc:Fallback>
          <p:pic>
            <p:nvPicPr>
              <p:cNvPr id="20" name="Ink 19">
                <a:extLst>
                  <a:ext uri="{FF2B5EF4-FFF2-40B4-BE49-F238E27FC236}">
                    <a16:creationId xmlns:a16="http://schemas.microsoft.com/office/drawing/2014/main" id="{2EAF0499-EE1F-41FF-B825-459F87A8EC97}"/>
                  </a:ext>
                </a:extLst>
              </p:cNvPr>
              <p:cNvPicPr/>
              <p:nvPr/>
            </p:nvPicPr>
            <p:blipFill>
              <a:blip r:embed="rId5"/>
              <a:stretch>
                <a:fillRect/>
              </a:stretch>
            </p:blipFill>
            <p:spPr>
              <a:xfrm>
                <a:off x="3143300" y="3012331"/>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19">
            <p14:nvContentPartPr>
              <p14:cNvPr id="21" name="Ink 20">
                <a:extLst>
                  <a:ext uri="{FF2B5EF4-FFF2-40B4-BE49-F238E27FC236}">
                    <a16:creationId xmlns:a16="http://schemas.microsoft.com/office/drawing/2014/main" id="{A8934AB4-1FE2-4B14-909A-4A098E1D03FD}"/>
                  </a:ext>
                </a:extLst>
              </p14:cNvPr>
              <p14:cNvContentPartPr/>
              <p14:nvPr/>
            </p14:nvContentPartPr>
            <p14:xfrm>
              <a:off x="3619500" y="3488531"/>
              <a:ext cx="9524" cy="9524"/>
            </p14:xfrm>
          </p:contentPart>
        </mc:Choice>
        <mc:Fallback>
          <p:pic>
            <p:nvPicPr>
              <p:cNvPr id="21" name="Ink 20">
                <a:extLst>
                  <a:ext uri="{FF2B5EF4-FFF2-40B4-BE49-F238E27FC236}">
                    <a16:creationId xmlns:a16="http://schemas.microsoft.com/office/drawing/2014/main" id="{A8934AB4-1FE2-4B14-909A-4A098E1D03FD}"/>
                  </a:ext>
                </a:extLst>
              </p:cNvPr>
              <p:cNvPicPr/>
              <p:nvPr/>
            </p:nvPicPr>
            <p:blipFill>
              <a:blip r:embed="rId5"/>
              <a:stretch>
                <a:fillRect/>
              </a:stretch>
            </p:blipFill>
            <p:spPr>
              <a:xfrm>
                <a:off x="3143300" y="3012331"/>
                <a:ext cx="952400" cy="952400"/>
              </a:xfrm>
              <a:prstGeom prst="rect">
                <a:avLst/>
              </a:prstGeom>
            </p:spPr>
          </p:pic>
        </mc:Fallback>
      </mc:AlternateContent>
      <p:sp>
        <p:nvSpPr>
          <p:cNvPr id="4" name="TextBox 3">
            <a:extLst>
              <a:ext uri="{FF2B5EF4-FFF2-40B4-BE49-F238E27FC236}">
                <a16:creationId xmlns:a16="http://schemas.microsoft.com/office/drawing/2014/main" id="{B6BF43DD-77E7-4B58-8278-E897D0AF2C1F}"/>
              </a:ext>
            </a:extLst>
          </p:cNvPr>
          <p:cNvSpPr txBox="1"/>
          <p:nvPr/>
        </p:nvSpPr>
        <p:spPr>
          <a:xfrm>
            <a:off x="662426" y="2679125"/>
            <a:ext cx="4672178"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mn-lt"/>
                <a:cs typeface="+mn-lt"/>
              </a:rPr>
              <a:t>Background:</a:t>
            </a:r>
          </a:p>
          <a:p>
            <a:endParaRPr lang="en-US" b="1">
              <a:ea typeface="+mn-lt"/>
              <a:cs typeface="+mn-lt"/>
            </a:endParaRPr>
          </a:p>
          <a:p>
            <a:r>
              <a:rPr lang="en-US">
                <a:ea typeface="+mn-lt"/>
                <a:cs typeface="+mn-lt"/>
              </a:rPr>
              <a:t>The Northern Sea Route is a </a:t>
            </a:r>
            <a:r>
              <a:rPr lang="en-US" b="1">
                <a:ea typeface="+mn-lt"/>
                <a:cs typeface="+mn-lt"/>
              </a:rPr>
              <a:t>shorter route</a:t>
            </a:r>
            <a:r>
              <a:rPr lang="en-US">
                <a:ea typeface="+mn-lt"/>
                <a:cs typeface="+mn-lt"/>
              </a:rPr>
              <a:t> to connect Northeast Asia and Western Europe compared to routes through the Suez Canal. With global warming and the melting of Arctic sea ice, the Northern Sea Route becomes more available than ever.</a:t>
            </a:r>
            <a:endParaRPr lang="en-US">
              <a:cs typeface="Calibri"/>
            </a:endParaRPr>
          </a:p>
          <a:p>
            <a:endParaRPr lang="en-US">
              <a:ea typeface="+mn-lt"/>
              <a:cs typeface="+mn-lt"/>
            </a:endParaRPr>
          </a:p>
          <a:p>
            <a:r>
              <a:rPr lang="en-US">
                <a:ea typeface="+mn-lt"/>
                <a:cs typeface="+mn-lt"/>
              </a:rPr>
              <a:t>This could potentially have a </a:t>
            </a:r>
            <a:r>
              <a:rPr lang="en-US" b="1">
                <a:ea typeface="+mn-lt"/>
                <a:cs typeface="+mn-lt"/>
              </a:rPr>
              <a:t>negative impact</a:t>
            </a:r>
            <a:r>
              <a:rPr lang="en-US">
                <a:ea typeface="+mn-lt"/>
                <a:cs typeface="+mn-lt"/>
              </a:rPr>
              <a:t> on the profitability of Kra Canal.</a:t>
            </a:r>
            <a:endParaRPr lang="en-US"/>
          </a:p>
        </p:txBody>
      </p:sp>
      <p:sp>
        <p:nvSpPr>
          <p:cNvPr id="23" name="Foliennummernplatzhalter 22">
            <a:extLst>
              <a:ext uri="{FF2B5EF4-FFF2-40B4-BE49-F238E27FC236}">
                <a16:creationId xmlns:a16="http://schemas.microsoft.com/office/drawing/2014/main" id="{B23662F6-39ED-4AED-AA1F-51323A591585}"/>
              </a:ext>
            </a:extLst>
          </p:cNvPr>
          <p:cNvSpPr>
            <a:spLocks noGrp="1"/>
          </p:cNvSpPr>
          <p:nvPr>
            <p:ph type="sldNum" sz="quarter" idx="12"/>
          </p:nvPr>
        </p:nvSpPr>
        <p:spPr/>
        <p:txBody>
          <a:bodyPr/>
          <a:lstStyle/>
          <a:p>
            <a:fld id="{4A0B9D2D-6490-410F-BAA1-A5DF4CF5DAF3}" type="slidenum">
              <a:rPr lang="en-GB" smtClean="0"/>
              <a:t>14</a:t>
            </a:fld>
            <a:endParaRPr lang="en-GB"/>
          </a:p>
        </p:txBody>
      </p:sp>
      <p:pic>
        <p:nvPicPr>
          <p:cNvPr id="22" name="Picture 21">
            <a:extLst>
              <a:ext uri="{FF2B5EF4-FFF2-40B4-BE49-F238E27FC236}">
                <a16:creationId xmlns:a16="http://schemas.microsoft.com/office/drawing/2014/main" id="{9E946C4B-B6D7-4DC0-A2DD-D358939CC04B}"/>
              </a:ext>
            </a:extLst>
          </p:cNvPr>
          <p:cNvPicPr>
            <a:picLocks noChangeAspect="1"/>
          </p:cNvPicPr>
          <p:nvPr/>
        </p:nvPicPr>
        <p:blipFill>
          <a:blip r:embed="rId20"/>
          <a:stretch>
            <a:fillRect/>
          </a:stretch>
        </p:blipFill>
        <p:spPr>
          <a:xfrm>
            <a:off x="6409152" y="1897224"/>
            <a:ext cx="4146407" cy="4459126"/>
          </a:xfrm>
          <a:prstGeom prst="rect">
            <a:avLst/>
          </a:prstGeom>
        </p:spPr>
      </p:pic>
    </p:spTree>
    <p:extLst>
      <p:ext uri="{BB962C8B-B14F-4D97-AF65-F5344CB8AC3E}">
        <p14:creationId xmlns:p14="http://schemas.microsoft.com/office/powerpoint/2010/main" val="3426313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dy of water with ice and snow on it&#10;&#10;Description automatically generated with low confidence">
            <a:extLst>
              <a:ext uri="{FF2B5EF4-FFF2-40B4-BE49-F238E27FC236}">
                <a16:creationId xmlns:a16="http://schemas.microsoft.com/office/drawing/2014/main" id="{4519734F-E187-4E19-88E1-6D5804607822}"/>
              </a:ext>
            </a:extLst>
          </p:cNvPr>
          <p:cNvPicPr>
            <a:picLocks noChangeAspect="1"/>
          </p:cNvPicPr>
          <p:nvPr/>
        </p:nvPicPr>
        <p:blipFill rotWithShape="1">
          <a:blip r:embed="rId3">
            <a:extLst>
              <a:ext uri="{28A0092B-C50C-407E-A947-70E740481C1C}">
                <a14:useLocalDpi xmlns:a14="http://schemas.microsoft.com/office/drawing/2010/main" val="0"/>
              </a:ext>
            </a:extLst>
          </a:blip>
          <a:srcRect l="965" t="48202" r="602" b="29735"/>
          <a:stretch/>
        </p:blipFill>
        <p:spPr>
          <a:xfrm rot="10800000" flipV="1">
            <a:off x="0" y="0"/>
            <a:ext cx="12192000" cy="1537161"/>
          </a:xfrm>
          <a:prstGeom prst="rect">
            <a:avLst/>
          </a:prstGeom>
        </p:spPr>
      </p:pic>
      <p:sp>
        <p:nvSpPr>
          <p:cNvPr id="6" name="Rectangle 5">
            <a:extLst>
              <a:ext uri="{FF2B5EF4-FFF2-40B4-BE49-F238E27FC236}">
                <a16:creationId xmlns:a16="http://schemas.microsoft.com/office/drawing/2014/main" id="{B0698DA7-CCBF-4F25-80A2-209C24DE3F1F}"/>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de-DE"/>
              <a:t>Climate Data Analysis</a:t>
            </a:r>
            <a:endParaRPr lang="en-US">
              <a:solidFill>
                <a:prstClr val="white"/>
              </a:solidFill>
            </a:endParaRPr>
          </a:p>
        </p:txBody>
      </p:sp>
      <p:sp>
        <p:nvSpPr>
          <p:cNvPr id="7" name="TextBox 6">
            <a:extLst>
              <a:ext uri="{FF2B5EF4-FFF2-40B4-BE49-F238E27FC236}">
                <a16:creationId xmlns:a16="http://schemas.microsoft.com/office/drawing/2014/main" id="{D4EB952D-F694-4A05-B6D2-7F0B5AF04036}"/>
              </a:ext>
            </a:extLst>
          </p:cNvPr>
          <p:cNvSpPr txBox="1"/>
          <p:nvPr/>
        </p:nvSpPr>
        <p:spPr>
          <a:xfrm>
            <a:off x="240383" y="1985616"/>
            <a:ext cx="5129493" cy="923330"/>
          </a:xfrm>
          <a:prstGeom prst="rect">
            <a:avLst/>
          </a:prstGeom>
          <a:noFill/>
        </p:spPr>
        <p:txBody>
          <a:bodyPr wrap="square" lIns="91440" tIns="45720" rIns="91440" bIns="45720" rtlCol="0" anchor="t">
            <a:spAutoFit/>
          </a:bodyPr>
          <a:lstStyle/>
          <a:p>
            <a:r>
              <a:rPr lang="de-DE" b="1"/>
              <a:t>Data Description:</a:t>
            </a:r>
          </a:p>
          <a:p>
            <a:r>
              <a:rPr lang="de-DE">
                <a:cs typeface="Calibri"/>
              </a:rPr>
              <a:t>Arctic </a:t>
            </a:r>
            <a:r>
              <a:rPr lang="en-AU">
                <a:cs typeface="Calibri"/>
              </a:rPr>
              <a:t>Sea</a:t>
            </a:r>
            <a:r>
              <a:rPr lang="de-DE">
                <a:cs typeface="Calibri"/>
              </a:rPr>
              <a:t> Ice Minimum </a:t>
            </a:r>
            <a:r>
              <a:rPr lang="en-GB">
                <a:cs typeface="Calibri"/>
              </a:rPr>
              <a:t>Extent from 1979 to</a:t>
            </a:r>
            <a:r>
              <a:rPr lang="de-DE">
                <a:cs typeface="Calibri"/>
              </a:rPr>
              <a:t> 2021</a:t>
            </a:r>
          </a:p>
          <a:p>
            <a:endParaRPr lang="de-DE">
              <a:cs typeface="Calibri"/>
            </a:endParaRPr>
          </a:p>
        </p:txBody>
      </p:sp>
      <p:pic>
        <p:nvPicPr>
          <p:cNvPr id="2" name="Picture 2" descr="Chart, line chart&#10;&#10;Description automatically generated">
            <a:extLst>
              <a:ext uri="{FF2B5EF4-FFF2-40B4-BE49-F238E27FC236}">
                <a16:creationId xmlns:a16="http://schemas.microsoft.com/office/drawing/2014/main" id="{31079D47-E2E7-49C9-A19F-83B80AE784AA}"/>
              </a:ext>
            </a:extLst>
          </p:cNvPr>
          <p:cNvPicPr>
            <a:picLocks noChangeAspect="1"/>
          </p:cNvPicPr>
          <p:nvPr/>
        </p:nvPicPr>
        <p:blipFill>
          <a:blip r:embed="rId4"/>
          <a:stretch>
            <a:fillRect/>
          </a:stretch>
        </p:blipFill>
        <p:spPr>
          <a:xfrm>
            <a:off x="238905" y="2836622"/>
            <a:ext cx="5326855" cy="3035667"/>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EF1861C0-0980-476B-A8E0-8D7E4B665A10}"/>
                  </a:ext>
                </a:extLst>
              </p14:cNvPr>
              <p14:cNvContentPartPr/>
              <p14:nvPr/>
            </p14:nvContentPartPr>
            <p14:xfrm>
              <a:off x="3810000" y="4012406"/>
              <a:ext cx="9524" cy="9524"/>
            </p14:xfrm>
          </p:contentPart>
        </mc:Choice>
        <mc:Fallback>
          <p:pic>
            <p:nvPicPr>
              <p:cNvPr id="3" name="Ink 2">
                <a:extLst>
                  <a:ext uri="{FF2B5EF4-FFF2-40B4-BE49-F238E27FC236}">
                    <a16:creationId xmlns:a16="http://schemas.microsoft.com/office/drawing/2014/main" id="{EF1861C0-0980-476B-A8E0-8D7E4B665A10}"/>
                  </a:ext>
                </a:extLst>
              </p:cNvPr>
              <p:cNvPicPr/>
              <p:nvPr/>
            </p:nvPicPr>
            <p:blipFill>
              <a:blip r:embed="rId6"/>
              <a:stretch>
                <a:fillRect/>
              </a:stretch>
            </p:blipFill>
            <p:spPr>
              <a:xfrm>
                <a:off x="3333800" y="3536206"/>
                <a:ext cx="952400"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4" name="Ink 3">
                <a:extLst>
                  <a:ext uri="{FF2B5EF4-FFF2-40B4-BE49-F238E27FC236}">
                    <a16:creationId xmlns:a16="http://schemas.microsoft.com/office/drawing/2014/main" id="{601635B7-2852-4EC1-8211-2E08361B2D38}"/>
                  </a:ext>
                </a:extLst>
              </p14:cNvPr>
              <p14:cNvContentPartPr/>
              <p14:nvPr/>
            </p14:nvContentPartPr>
            <p14:xfrm>
              <a:off x="4321969" y="3679031"/>
              <a:ext cx="9524" cy="9524"/>
            </p14:xfrm>
          </p:contentPart>
        </mc:Choice>
        <mc:Fallback>
          <p:pic>
            <p:nvPicPr>
              <p:cNvPr id="4" name="Ink 3">
                <a:extLst>
                  <a:ext uri="{FF2B5EF4-FFF2-40B4-BE49-F238E27FC236}">
                    <a16:creationId xmlns:a16="http://schemas.microsoft.com/office/drawing/2014/main" id="{601635B7-2852-4EC1-8211-2E08361B2D38}"/>
                  </a:ext>
                </a:extLst>
              </p:cNvPr>
              <p:cNvPicPr/>
              <p:nvPr/>
            </p:nvPicPr>
            <p:blipFill>
              <a:blip r:embed="rId6"/>
              <a:stretch>
                <a:fillRect/>
              </a:stretch>
            </p:blipFill>
            <p:spPr>
              <a:xfrm>
                <a:off x="3845769" y="3202831"/>
                <a:ext cx="952400" cy="952400"/>
              </a:xfrm>
              <a:prstGeom prst="rect">
                <a:avLst/>
              </a:prstGeom>
            </p:spPr>
          </p:pic>
        </mc:Fallback>
      </mc:AlternateContent>
      <p:pic>
        <p:nvPicPr>
          <p:cNvPr id="8" name="Picture 8" descr="A picture containing graphical user interface&#10;&#10;Description automatically generated">
            <a:extLst>
              <a:ext uri="{FF2B5EF4-FFF2-40B4-BE49-F238E27FC236}">
                <a16:creationId xmlns:a16="http://schemas.microsoft.com/office/drawing/2014/main" id="{BF218F6A-C862-47B7-869B-0920EA021818}"/>
              </a:ext>
            </a:extLst>
          </p:cNvPr>
          <p:cNvPicPr>
            <a:picLocks noChangeAspect="1"/>
          </p:cNvPicPr>
          <p:nvPr/>
        </p:nvPicPr>
        <p:blipFill>
          <a:blip r:embed="rId8"/>
          <a:stretch>
            <a:fillRect/>
          </a:stretch>
        </p:blipFill>
        <p:spPr>
          <a:xfrm>
            <a:off x="6701962" y="3145685"/>
            <a:ext cx="4805395" cy="2901313"/>
          </a:xfrm>
          <a:prstGeom prst="rect">
            <a:avLst/>
          </a:prstGeom>
        </p:spPr>
      </p:pic>
      <p:sp>
        <p:nvSpPr>
          <p:cNvPr id="9" name="TextBox 8">
            <a:extLst>
              <a:ext uri="{FF2B5EF4-FFF2-40B4-BE49-F238E27FC236}">
                <a16:creationId xmlns:a16="http://schemas.microsoft.com/office/drawing/2014/main" id="{FA8D25B3-D571-4488-A0CF-ADBEC5D6CA7E}"/>
              </a:ext>
            </a:extLst>
          </p:cNvPr>
          <p:cNvSpPr txBox="1"/>
          <p:nvPr/>
        </p:nvSpPr>
        <p:spPr>
          <a:xfrm>
            <a:off x="6398808" y="1815144"/>
            <a:ext cx="5411701" cy="1200329"/>
          </a:xfrm>
          <a:prstGeom prst="rect">
            <a:avLst/>
          </a:prstGeom>
          <a:noFill/>
        </p:spPr>
        <p:txBody>
          <a:bodyPr wrap="square" lIns="91440" tIns="45720" rIns="91440" bIns="45720" rtlCol="0" anchor="t">
            <a:spAutoFit/>
          </a:bodyPr>
          <a:lstStyle/>
          <a:p>
            <a:pPr marL="285750" indent="-285750">
              <a:buFont typeface="Arial"/>
              <a:buChar char="•"/>
            </a:pPr>
            <a:r>
              <a:rPr lang="en-GB"/>
              <a:t>We</a:t>
            </a:r>
            <a:r>
              <a:rPr lang="en-GB">
                <a:cs typeface="Calibri"/>
              </a:rPr>
              <a:t> can decompose the time series data into trend, seasonal and residual parts.</a:t>
            </a:r>
            <a:endParaRPr lang="en-GB" b="1">
              <a:cs typeface="Calibri"/>
            </a:endParaRPr>
          </a:p>
          <a:p>
            <a:pPr marL="285750" indent="-285750">
              <a:buFont typeface="Arial"/>
              <a:buChar char="•"/>
            </a:pPr>
            <a:r>
              <a:rPr lang="en-GB">
                <a:cs typeface="Calibri"/>
              </a:rPr>
              <a:t>There is apparently a </a:t>
            </a:r>
            <a:r>
              <a:rPr lang="en-GB" b="1">
                <a:cs typeface="Calibri"/>
              </a:rPr>
              <a:t>descending trend</a:t>
            </a:r>
            <a:r>
              <a:rPr lang="en-GB">
                <a:cs typeface="Calibri"/>
              </a:rPr>
              <a:t> and a </a:t>
            </a:r>
            <a:r>
              <a:rPr lang="en-GB" b="1">
                <a:cs typeface="Calibri"/>
              </a:rPr>
              <a:t>recurring pattern.</a:t>
            </a:r>
          </a:p>
        </p:txBody>
      </p:sp>
      <p:cxnSp>
        <p:nvCxnSpPr>
          <p:cNvPr id="10" name="Straight Connector 2">
            <a:extLst>
              <a:ext uri="{FF2B5EF4-FFF2-40B4-BE49-F238E27FC236}">
                <a16:creationId xmlns:a16="http://schemas.microsoft.com/office/drawing/2014/main" id="{F88E97CC-FA7A-47E9-8ACC-8FC0B9CE542B}"/>
              </a:ext>
            </a:extLst>
          </p:cNvPr>
          <p:cNvCxnSpPr/>
          <p:nvPr/>
        </p:nvCxnSpPr>
        <p:spPr>
          <a:xfrm>
            <a:off x="6119973" y="1537161"/>
            <a:ext cx="0" cy="53208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Foliennummernplatzhalter 12">
            <a:extLst>
              <a:ext uri="{FF2B5EF4-FFF2-40B4-BE49-F238E27FC236}">
                <a16:creationId xmlns:a16="http://schemas.microsoft.com/office/drawing/2014/main" id="{F8157C00-8955-40CD-AF1F-8F46DF99D115}"/>
              </a:ext>
            </a:extLst>
          </p:cNvPr>
          <p:cNvSpPr>
            <a:spLocks noGrp="1"/>
          </p:cNvSpPr>
          <p:nvPr>
            <p:ph type="sldNum" sz="quarter" idx="12"/>
          </p:nvPr>
        </p:nvSpPr>
        <p:spPr/>
        <p:txBody>
          <a:bodyPr/>
          <a:lstStyle/>
          <a:p>
            <a:fld id="{4A0B9D2D-6490-410F-BAA1-A5DF4CF5DAF3}" type="slidenum">
              <a:rPr lang="en-GB" smtClean="0"/>
              <a:t>15</a:t>
            </a:fld>
            <a:endParaRPr lang="en-GB"/>
          </a:p>
        </p:txBody>
      </p:sp>
      <p:sp>
        <p:nvSpPr>
          <p:cNvPr id="12" name="TextBox 11">
            <a:extLst>
              <a:ext uri="{FF2B5EF4-FFF2-40B4-BE49-F238E27FC236}">
                <a16:creationId xmlns:a16="http://schemas.microsoft.com/office/drawing/2014/main" id="{6EF012CB-C75D-4D45-9942-963D6B00E692}"/>
              </a:ext>
            </a:extLst>
          </p:cNvPr>
          <p:cNvSpPr txBox="1"/>
          <p:nvPr/>
        </p:nvSpPr>
        <p:spPr>
          <a:xfrm>
            <a:off x="405572" y="5934161"/>
            <a:ext cx="5129493" cy="646331"/>
          </a:xfrm>
          <a:prstGeom prst="rect">
            <a:avLst/>
          </a:prstGeom>
          <a:noFill/>
        </p:spPr>
        <p:txBody>
          <a:bodyPr wrap="square" lIns="91440" tIns="45720" rIns="91440" bIns="45720" rtlCol="0" anchor="t">
            <a:spAutoFit/>
          </a:bodyPr>
          <a:lstStyle/>
          <a:p>
            <a:r>
              <a:rPr lang="de-DE"/>
              <a:t>Source: NASA</a:t>
            </a:r>
            <a:endParaRPr lang="en-US"/>
          </a:p>
          <a:p>
            <a:endParaRPr lang="de-DE">
              <a:cs typeface="Calibri"/>
            </a:endParaRPr>
          </a:p>
        </p:txBody>
      </p:sp>
    </p:spTree>
    <p:extLst>
      <p:ext uri="{BB962C8B-B14F-4D97-AF65-F5344CB8AC3E}">
        <p14:creationId xmlns:p14="http://schemas.microsoft.com/office/powerpoint/2010/main" val="144855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dy of water with ice and snow on it&#10;&#10;Description automatically generated with low confidence">
            <a:extLst>
              <a:ext uri="{FF2B5EF4-FFF2-40B4-BE49-F238E27FC236}">
                <a16:creationId xmlns:a16="http://schemas.microsoft.com/office/drawing/2014/main" id="{4519734F-E187-4E19-88E1-6D5804607822}"/>
              </a:ext>
            </a:extLst>
          </p:cNvPr>
          <p:cNvPicPr>
            <a:picLocks noChangeAspect="1"/>
          </p:cNvPicPr>
          <p:nvPr/>
        </p:nvPicPr>
        <p:blipFill rotWithShape="1">
          <a:blip r:embed="rId2">
            <a:extLst>
              <a:ext uri="{28A0092B-C50C-407E-A947-70E740481C1C}">
                <a14:useLocalDpi xmlns:a14="http://schemas.microsoft.com/office/drawing/2010/main" val="0"/>
              </a:ext>
            </a:extLst>
          </a:blip>
          <a:srcRect l="965" t="48202" r="602" b="29735"/>
          <a:stretch/>
        </p:blipFill>
        <p:spPr>
          <a:xfrm rot="10800000" flipV="1">
            <a:off x="0" y="0"/>
            <a:ext cx="12192000" cy="1537161"/>
          </a:xfrm>
          <a:prstGeom prst="rect">
            <a:avLst/>
          </a:prstGeom>
        </p:spPr>
      </p:pic>
      <p:sp>
        <p:nvSpPr>
          <p:cNvPr id="6" name="Rectangle 5">
            <a:extLst>
              <a:ext uri="{FF2B5EF4-FFF2-40B4-BE49-F238E27FC236}">
                <a16:creationId xmlns:a16="http://schemas.microsoft.com/office/drawing/2014/main" id="{B0698DA7-CCBF-4F25-80A2-209C24DE3F1F}"/>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de-DE"/>
              <a:t>Climate Data Analysis</a:t>
            </a:r>
            <a:endParaRPr lang="en-US">
              <a:solidFill>
                <a:prstClr val="white"/>
              </a:solidFill>
            </a:endParaRPr>
          </a:p>
        </p:txBody>
      </p:sp>
      <p:sp>
        <p:nvSpPr>
          <p:cNvPr id="8" name="TextBox 7">
            <a:extLst>
              <a:ext uri="{FF2B5EF4-FFF2-40B4-BE49-F238E27FC236}">
                <a16:creationId xmlns:a16="http://schemas.microsoft.com/office/drawing/2014/main" id="{E45C4B50-56CA-4F24-9DAC-E10D7B0E27C4}"/>
              </a:ext>
            </a:extLst>
          </p:cNvPr>
          <p:cNvSpPr txBox="1"/>
          <p:nvPr/>
        </p:nvSpPr>
        <p:spPr>
          <a:xfrm>
            <a:off x="681835" y="1913885"/>
            <a:ext cx="5440808" cy="4247317"/>
          </a:xfrm>
          <a:prstGeom prst="rect">
            <a:avLst/>
          </a:prstGeom>
          <a:noFill/>
        </p:spPr>
        <p:txBody>
          <a:bodyPr wrap="square" lIns="91440" tIns="45720" rIns="91440" bIns="45720" rtlCol="0" anchor="t">
            <a:spAutoFit/>
          </a:bodyPr>
          <a:lstStyle/>
          <a:p>
            <a:r>
              <a:rPr lang="en-GB" b="1">
                <a:ea typeface="+mn-lt"/>
                <a:cs typeface="+mn-lt"/>
              </a:rPr>
              <a:t>We use ARMA to model the data and make predictions</a:t>
            </a:r>
            <a:endParaRPr lang="en-GB" b="1">
              <a:cs typeface="Calibri"/>
            </a:endParaRPr>
          </a:p>
          <a:p>
            <a:endParaRPr lang="en-GB">
              <a:cs typeface="Calibri"/>
            </a:endParaRPr>
          </a:p>
          <a:p>
            <a:r>
              <a:rPr lang="en-GB" b="1">
                <a:cs typeface="Calibri"/>
              </a:rPr>
              <a:t>Step 1:</a:t>
            </a:r>
            <a:endParaRPr lang="en-GB">
              <a:cs typeface="Calibri"/>
            </a:endParaRPr>
          </a:p>
          <a:p>
            <a:r>
              <a:rPr lang="en-GB">
                <a:cs typeface="Calibri"/>
              </a:rPr>
              <a:t>By conducting a </a:t>
            </a:r>
            <a:r>
              <a:rPr lang="en-GB">
                <a:ea typeface="+mn-lt"/>
                <a:cs typeface="+mn-lt"/>
              </a:rPr>
              <a:t>Dickey-Fuller test, we find a stationary time series after differencing the data.</a:t>
            </a:r>
          </a:p>
          <a:p>
            <a:endParaRPr lang="en-GB">
              <a:cs typeface="Calibri"/>
            </a:endParaRPr>
          </a:p>
          <a:p>
            <a:r>
              <a:rPr lang="en-GB" b="1">
                <a:cs typeface="Calibri"/>
              </a:rPr>
              <a:t>Step 2.1</a:t>
            </a:r>
          </a:p>
          <a:p>
            <a:r>
              <a:rPr lang="en-GB">
                <a:cs typeface="Calibri"/>
              </a:rPr>
              <a:t>The order of the Autoregressive part AR(p) is determined by the partial autocorrelation function, which is 4 in our case.</a:t>
            </a:r>
          </a:p>
          <a:p>
            <a:endParaRPr lang="en-GB">
              <a:cs typeface="Calibri"/>
            </a:endParaRPr>
          </a:p>
          <a:p>
            <a:r>
              <a:rPr lang="en-GB" b="1">
                <a:cs typeface="Calibri"/>
              </a:rPr>
              <a:t>Step 2.2</a:t>
            </a:r>
          </a:p>
          <a:p>
            <a:r>
              <a:rPr lang="en-GB">
                <a:cs typeface="Calibri"/>
              </a:rPr>
              <a:t>The order of the Moving Average part MA(q) is determined by the autocorrelation function, which is 1 in our case.</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370714F9-9124-4845-BD8E-DDC6AFBE396B}"/>
                  </a:ext>
                </a:extLst>
              </p14:cNvPr>
              <p14:cNvContentPartPr/>
              <p14:nvPr/>
            </p14:nvContentPartPr>
            <p14:xfrm>
              <a:off x="3186159" y="3821906"/>
              <a:ext cx="9524" cy="9524"/>
            </p14:xfrm>
          </p:contentPart>
        </mc:Choice>
        <mc:Fallback>
          <p:pic>
            <p:nvPicPr>
              <p:cNvPr id="3" name="Ink 2">
                <a:extLst>
                  <a:ext uri="{FF2B5EF4-FFF2-40B4-BE49-F238E27FC236}">
                    <a16:creationId xmlns:a16="http://schemas.microsoft.com/office/drawing/2014/main" id="{370714F9-9124-4845-BD8E-DDC6AFBE396B}"/>
                  </a:ext>
                </a:extLst>
              </p:cNvPr>
              <p:cNvPicPr/>
              <p:nvPr/>
            </p:nvPicPr>
            <p:blipFill>
              <a:blip r:embed="rId4"/>
              <a:stretch>
                <a:fillRect/>
              </a:stretch>
            </p:blipFill>
            <p:spPr>
              <a:xfrm>
                <a:off x="3152145" y="3345706"/>
                <a:ext cx="76872" cy="9524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C1AFEEDC-1FBB-4ACE-B5DF-B21D3DB6C01D}"/>
                  </a:ext>
                </a:extLst>
              </p14:cNvPr>
              <p14:cNvContentPartPr/>
              <p14:nvPr/>
            </p14:nvContentPartPr>
            <p14:xfrm>
              <a:off x="3178969" y="3821906"/>
              <a:ext cx="9524" cy="9524"/>
            </p14:xfrm>
          </p:contentPart>
        </mc:Choice>
        <mc:Fallback>
          <p:pic>
            <p:nvPicPr>
              <p:cNvPr id="4" name="Ink 3">
                <a:extLst>
                  <a:ext uri="{FF2B5EF4-FFF2-40B4-BE49-F238E27FC236}">
                    <a16:creationId xmlns:a16="http://schemas.microsoft.com/office/drawing/2014/main" id="{C1AFEEDC-1FBB-4ACE-B5DF-B21D3DB6C01D}"/>
                  </a:ext>
                </a:extLst>
              </p:cNvPr>
              <p:cNvPicPr/>
              <p:nvPr/>
            </p:nvPicPr>
            <p:blipFill>
              <a:blip r:embed="rId6"/>
              <a:stretch>
                <a:fillRect/>
              </a:stretch>
            </p:blipFill>
            <p:spPr>
              <a:xfrm>
                <a:off x="2702769" y="3345706"/>
                <a:ext cx="952400" cy="952400"/>
              </a:xfrm>
              <a:prstGeom prst="rect">
                <a:avLst/>
              </a:prstGeom>
            </p:spPr>
          </p:pic>
        </mc:Fallback>
      </mc:AlternateContent>
      <p:pic>
        <p:nvPicPr>
          <p:cNvPr id="7" name="Picture 8" descr="Chart, scatter chart, box and whisker chart&#10;&#10;Description automatically generated">
            <a:extLst>
              <a:ext uri="{FF2B5EF4-FFF2-40B4-BE49-F238E27FC236}">
                <a16:creationId xmlns:a16="http://schemas.microsoft.com/office/drawing/2014/main" id="{89A3114E-E64B-4F03-8117-991760B5B562}"/>
              </a:ext>
            </a:extLst>
          </p:cNvPr>
          <p:cNvPicPr>
            <a:picLocks noChangeAspect="1"/>
          </p:cNvPicPr>
          <p:nvPr/>
        </p:nvPicPr>
        <p:blipFill>
          <a:blip r:embed="rId7"/>
          <a:stretch>
            <a:fillRect/>
          </a:stretch>
        </p:blipFill>
        <p:spPr>
          <a:xfrm>
            <a:off x="7458825" y="4037544"/>
            <a:ext cx="3222780" cy="2170877"/>
          </a:xfrm>
          <a:prstGeom prst="rect">
            <a:avLst/>
          </a:prstGeom>
        </p:spPr>
      </p:pic>
      <p:pic>
        <p:nvPicPr>
          <p:cNvPr id="9" name="Picture 9" descr="Chart, box and whisker chart&#10;&#10;Description automatically generated">
            <a:extLst>
              <a:ext uri="{FF2B5EF4-FFF2-40B4-BE49-F238E27FC236}">
                <a16:creationId xmlns:a16="http://schemas.microsoft.com/office/drawing/2014/main" id="{E6236703-7EE1-4872-B9FB-EB91F25ACF63}"/>
              </a:ext>
            </a:extLst>
          </p:cNvPr>
          <p:cNvPicPr>
            <a:picLocks noChangeAspect="1"/>
          </p:cNvPicPr>
          <p:nvPr/>
        </p:nvPicPr>
        <p:blipFill>
          <a:blip r:embed="rId8"/>
          <a:stretch>
            <a:fillRect/>
          </a:stretch>
        </p:blipFill>
        <p:spPr>
          <a:xfrm>
            <a:off x="7373568" y="1775387"/>
            <a:ext cx="3308037" cy="2164350"/>
          </a:xfrm>
          <a:prstGeom prst="rect">
            <a:avLst/>
          </a:prstGeom>
        </p:spPr>
      </p:pic>
      <p:cxnSp>
        <p:nvCxnSpPr>
          <p:cNvPr id="10" name="Straight Connector 2">
            <a:extLst>
              <a:ext uri="{FF2B5EF4-FFF2-40B4-BE49-F238E27FC236}">
                <a16:creationId xmlns:a16="http://schemas.microsoft.com/office/drawing/2014/main" id="{BAD4A35F-2EA7-4B11-B159-A3B4F74E432A}"/>
              </a:ext>
            </a:extLst>
          </p:cNvPr>
          <p:cNvCxnSpPr/>
          <p:nvPr/>
        </p:nvCxnSpPr>
        <p:spPr>
          <a:xfrm>
            <a:off x="6096000" y="1537162"/>
            <a:ext cx="0" cy="53208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Foliennummernplatzhalter 11">
            <a:extLst>
              <a:ext uri="{FF2B5EF4-FFF2-40B4-BE49-F238E27FC236}">
                <a16:creationId xmlns:a16="http://schemas.microsoft.com/office/drawing/2014/main" id="{8178CC20-8EE5-4AF1-9501-7AAF6A79B2D0}"/>
              </a:ext>
            </a:extLst>
          </p:cNvPr>
          <p:cNvSpPr>
            <a:spLocks noGrp="1"/>
          </p:cNvSpPr>
          <p:nvPr>
            <p:ph type="sldNum" sz="quarter" idx="12"/>
          </p:nvPr>
        </p:nvSpPr>
        <p:spPr/>
        <p:txBody>
          <a:bodyPr/>
          <a:lstStyle/>
          <a:p>
            <a:fld id="{4A0B9D2D-6490-410F-BAA1-A5DF4CF5DAF3}" type="slidenum">
              <a:rPr lang="en-GB" smtClean="0"/>
              <a:t>16</a:t>
            </a:fld>
            <a:endParaRPr lang="en-GB"/>
          </a:p>
        </p:txBody>
      </p:sp>
    </p:spTree>
    <p:extLst>
      <p:ext uri="{BB962C8B-B14F-4D97-AF65-F5344CB8AC3E}">
        <p14:creationId xmlns:p14="http://schemas.microsoft.com/office/powerpoint/2010/main" val="4276621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ody of water with ice and snow on it&#10;&#10;Description automatically generated with low confidence">
            <a:extLst>
              <a:ext uri="{FF2B5EF4-FFF2-40B4-BE49-F238E27FC236}">
                <a16:creationId xmlns:a16="http://schemas.microsoft.com/office/drawing/2014/main" id="{4519734F-E187-4E19-88E1-6D5804607822}"/>
              </a:ext>
            </a:extLst>
          </p:cNvPr>
          <p:cNvPicPr>
            <a:picLocks noChangeAspect="1"/>
          </p:cNvPicPr>
          <p:nvPr/>
        </p:nvPicPr>
        <p:blipFill rotWithShape="1">
          <a:blip r:embed="rId2">
            <a:extLst>
              <a:ext uri="{28A0092B-C50C-407E-A947-70E740481C1C}">
                <a14:useLocalDpi xmlns:a14="http://schemas.microsoft.com/office/drawing/2010/main" val="0"/>
              </a:ext>
            </a:extLst>
          </a:blip>
          <a:srcRect l="965" t="48202" r="602" b="29735"/>
          <a:stretch/>
        </p:blipFill>
        <p:spPr>
          <a:xfrm rot="10800000" flipV="1">
            <a:off x="0" y="0"/>
            <a:ext cx="12192000" cy="1537161"/>
          </a:xfrm>
          <a:prstGeom prst="rect">
            <a:avLst/>
          </a:prstGeom>
        </p:spPr>
      </p:pic>
      <p:sp>
        <p:nvSpPr>
          <p:cNvPr id="6" name="Rectangle 5">
            <a:extLst>
              <a:ext uri="{FF2B5EF4-FFF2-40B4-BE49-F238E27FC236}">
                <a16:creationId xmlns:a16="http://schemas.microsoft.com/office/drawing/2014/main" id="{B0698DA7-CCBF-4F25-80A2-209C24DE3F1F}"/>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de-DE"/>
              <a:t>Climate Data Analysis</a:t>
            </a:r>
            <a:endParaRPr lang="en-US">
              <a:solidFill>
                <a:prstClr val="white"/>
              </a:solidFill>
            </a:endParaRPr>
          </a:p>
        </p:txBody>
      </p:sp>
      <p:sp>
        <p:nvSpPr>
          <p:cNvPr id="9" name="TextBox 8">
            <a:extLst>
              <a:ext uri="{FF2B5EF4-FFF2-40B4-BE49-F238E27FC236}">
                <a16:creationId xmlns:a16="http://schemas.microsoft.com/office/drawing/2014/main" id="{FE53DFC1-E809-4964-8447-D19B74AB7A22}"/>
              </a:ext>
            </a:extLst>
          </p:cNvPr>
          <p:cNvSpPr txBox="1"/>
          <p:nvPr/>
        </p:nvSpPr>
        <p:spPr>
          <a:xfrm>
            <a:off x="892265" y="2016795"/>
            <a:ext cx="4351507" cy="369332"/>
          </a:xfrm>
          <a:prstGeom prst="rect">
            <a:avLst/>
          </a:prstGeom>
          <a:noFill/>
        </p:spPr>
        <p:txBody>
          <a:bodyPr wrap="square" lIns="91440" tIns="45720" rIns="91440" bIns="45720" rtlCol="0" anchor="t">
            <a:spAutoFit/>
          </a:bodyPr>
          <a:lstStyle/>
          <a:p>
            <a:r>
              <a:rPr lang="en-AU" b="1"/>
              <a:t>Result</a:t>
            </a:r>
            <a:endParaRPr lang="en-AU" b="1">
              <a:cs typeface="Calibri"/>
            </a:endParaRPr>
          </a:p>
        </p:txBody>
      </p:sp>
      <p:pic>
        <p:nvPicPr>
          <p:cNvPr id="2" name="Picture 2" descr="Chart, line chart&#10;&#10;Description automatically generated">
            <a:extLst>
              <a:ext uri="{FF2B5EF4-FFF2-40B4-BE49-F238E27FC236}">
                <a16:creationId xmlns:a16="http://schemas.microsoft.com/office/drawing/2014/main" id="{DBE95054-5A5C-48E9-8E60-3B5EFA744AC8}"/>
              </a:ext>
            </a:extLst>
          </p:cNvPr>
          <p:cNvPicPr>
            <a:picLocks noChangeAspect="1"/>
          </p:cNvPicPr>
          <p:nvPr/>
        </p:nvPicPr>
        <p:blipFill>
          <a:blip r:embed="rId3"/>
          <a:stretch>
            <a:fillRect/>
          </a:stretch>
        </p:blipFill>
        <p:spPr>
          <a:xfrm>
            <a:off x="7036312" y="2817942"/>
            <a:ext cx="4356496" cy="2759276"/>
          </a:xfrm>
          <a:prstGeom prst="rect">
            <a:avLst/>
          </a:prstGeom>
        </p:spPr>
      </p:pic>
      <p:sp>
        <p:nvSpPr>
          <p:cNvPr id="3" name="TextBox 2">
            <a:extLst>
              <a:ext uri="{FF2B5EF4-FFF2-40B4-BE49-F238E27FC236}">
                <a16:creationId xmlns:a16="http://schemas.microsoft.com/office/drawing/2014/main" id="{1842065C-BC47-4FF5-AB38-5B8D13CB44EE}"/>
              </a:ext>
            </a:extLst>
          </p:cNvPr>
          <p:cNvSpPr txBox="1"/>
          <p:nvPr/>
        </p:nvSpPr>
        <p:spPr>
          <a:xfrm>
            <a:off x="9294201" y="4481461"/>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2022</a:t>
            </a:r>
          </a:p>
        </p:txBody>
      </p:sp>
      <p:sp>
        <p:nvSpPr>
          <p:cNvPr id="7" name="TextBox 6">
            <a:extLst>
              <a:ext uri="{FF2B5EF4-FFF2-40B4-BE49-F238E27FC236}">
                <a16:creationId xmlns:a16="http://schemas.microsoft.com/office/drawing/2014/main" id="{83860292-1F05-4A57-882B-8A78216F11FF}"/>
              </a:ext>
            </a:extLst>
          </p:cNvPr>
          <p:cNvSpPr txBox="1"/>
          <p:nvPr/>
        </p:nvSpPr>
        <p:spPr>
          <a:xfrm>
            <a:off x="10776363" y="4734866"/>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solidFill>
                  <a:srgbClr val="FF0000"/>
                </a:solidFill>
              </a:rPr>
              <a:t>2050</a:t>
            </a:r>
            <a:endParaRPr lang="en-US">
              <a:solidFill>
                <a:srgbClr val="FF0000"/>
              </a:solidFill>
              <a:cs typeface="Calibri"/>
            </a:endParaRPr>
          </a:p>
        </p:txBody>
      </p:sp>
      <p:sp>
        <p:nvSpPr>
          <p:cNvPr id="8" name="TextBox 7">
            <a:extLst>
              <a:ext uri="{FF2B5EF4-FFF2-40B4-BE49-F238E27FC236}">
                <a16:creationId xmlns:a16="http://schemas.microsoft.com/office/drawing/2014/main" id="{2E271191-CEBC-4882-B336-F30978B33968}"/>
              </a:ext>
            </a:extLst>
          </p:cNvPr>
          <p:cNvSpPr txBox="1"/>
          <p:nvPr/>
        </p:nvSpPr>
        <p:spPr>
          <a:xfrm>
            <a:off x="7265634" y="3261025"/>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1976</a:t>
            </a:r>
          </a:p>
        </p:txBody>
      </p:sp>
      <p:sp>
        <p:nvSpPr>
          <p:cNvPr id="4" name="TextBox 3">
            <a:extLst>
              <a:ext uri="{FF2B5EF4-FFF2-40B4-BE49-F238E27FC236}">
                <a16:creationId xmlns:a16="http://schemas.microsoft.com/office/drawing/2014/main" id="{14C27AA5-F23F-4472-8BB5-152DA0709D9D}"/>
              </a:ext>
            </a:extLst>
          </p:cNvPr>
          <p:cNvSpPr txBox="1"/>
          <p:nvPr/>
        </p:nvSpPr>
        <p:spPr>
          <a:xfrm>
            <a:off x="889680" y="2532460"/>
            <a:ext cx="3734331"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ccording to our analysis, the minimum sea ice extent of Arctic will reduce to </a:t>
            </a:r>
            <a:r>
              <a:rPr lang="en-US" b="1"/>
              <a:t>half of </a:t>
            </a:r>
            <a:r>
              <a:rPr lang="en-US"/>
              <a:t>what it is now by 2050, which makes it much easier for ships to pass through the Northern Sea Route.</a:t>
            </a:r>
          </a:p>
          <a:p>
            <a:endParaRPr lang="en-US">
              <a:cs typeface="Calibri" panose="020F0502020204030204"/>
            </a:endParaRPr>
          </a:p>
          <a:p>
            <a:r>
              <a:rPr lang="en-US">
                <a:cs typeface="Calibri" panose="020F0502020204030204"/>
              </a:rPr>
              <a:t>This will possibly result in a huge </a:t>
            </a:r>
            <a:r>
              <a:rPr lang="en-US" b="1">
                <a:cs typeface="Calibri" panose="020F0502020204030204"/>
              </a:rPr>
              <a:t>decrease</a:t>
            </a:r>
            <a:r>
              <a:rPr lang="en-US">
                <a:cs typeface="Calibri" panose="020F0502020204030204"/>
              </a:rPr>
              <a:t> in the number of ships passing from Strait of Malacca or Kra Canal. The </a:t>
            </a:r>
            <a:r>
              <a:rPr lang="en-US" b="1">
                <a:cs typeface="Calibri" panose="020F0502020204030204"/>
              </a:rPr>
              <a:t>negative effect</a:t>
            </a:r>
            <a:r>
              <a:rPr lang="en-US">
                <a:cs typeface="Calibri" panose="020F0502020204030204"/>
              </a:rPr>
              <a:t> could be reflected in the operating income.</a:t>
            </a:r>
          </a:p>
        </p:txBody>
      </p:sp>
      <p:sp>
        <p:nvSpPr>
          <p:cNvPr id="10" name="TextBox 9">
            <a:extLst>
              <a:ext uri="{FF2B5EF4-FFF2-40B4-BE49-F238E27FC236}">
                <a16:creationId xmlns:a16="http://schemas.microsoft.com/office/drawing/2014/main" id="{629F9040-FB99-4D99-A60D-05B834F42C14}"/>
              </a:ext>
            </a:extLst>
          </p:cNvPr>
          <p:cNvSpPr txBox="1"/>
          <p:nvPr/>
        </p:nvSpPr>
        <p:spPr>
          <a:xfrm rot="16200000">
            <a:off x="5587052" y="3544677"/>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million square km</a:t>
            </a:r>
          </a:p>
        </p:txBody>
      </p:sp>
      <p:sp>
        <p:nvSpPr>
          <p:cNvPr id="12" name="TextBox 11">
            <a:extLst>
              <a:ext uri="{FF2B5EF4-FFF2-40B4-BE49-F238E27FC236}">
                <a16:creationId xmlns:a16="http://schemas.microsoft.com/office/drawing/2014/main" id="{50E4282D-0646-40E2-95A5-C91A80FED8A0}"/>
              </a:ext>
            </a:extLst>
          </p:cNvPr>
          <p:cNvSpPr txBox="1"/>
          <p:nvPr/>
        </p:nvSpPr>
        <p:spPr>
          <a:xfrm>
            <a:off x="7185947" y="2202188"/>
            <a:ext cx="4351507" cy="369332"/>
          </a:xfrm>
          <a:prstGeom prst="rect">
            <a:avLst/>
          </a:prstGeom>
          <a:noFill/>
        </p:spPr>
        <p:txBody>
          <a:bodyPr wrap="square" lIns="91440" tIns="45720" rIns="91440" bIns="45720" rtlCol="0" anchor="t">
            <a:spAutoFit/>
          </a:bodyPr>
          <a:lstStyle/>
          <a:p>
            <a:r>
              <a:rPr lang="en-AU" b="1">
                <a:cs typeface="Calibri"/>
              </a:rPr>
              <a:t>Arctic Sea Ice Extent Prediction</a:t>
            </a:r>
          </a:p>
        </p:txBody>
      </p:sp>
      <p:cxnSp>
        <p:nvCxnSpPr>
          <p:cNvPr id="13" name="Straight Connector 2">
            <a:extLst>
              <a:ext uri="{FF2B5EF4-FFF2-40B4-BE49-F238E27FC236}">
                <a16:creationId xmlns:a16="http://schemas.microsoft.com/office/drawing/2014/main" id="{4980EA1F-4930-4EFC-832F-060A339EB186}"/>
              </a:ext>
            </a:extLst>
          </p:cNvPr>
          <p:cNvCxnSpPr/>
          <p:nvPr/>
        </p:nvCxnSpPr>
        <p:spPr>
          <a:xfrm>
            <a:off x="6211113" y="1537160"/>
            <a:ext cx="0" cy="53208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Foliennummernplatzhalter 14">
            <a:extLst>
              <a:ext uri="{FF2B5EF4-FFF2-40B4-BE49-F238E27FC236}">
                <a16:creationId xmlns:a16="http://schemas.microsoft.com/office/drawing/2014/main" id="{504DE92E-A6F8-4276-B9ED-AEBCE330A9C5}"/>
              </a:ext>
            </a:extLst>
          </p:cNvPr>
          <p:cNvSpPr>
            <a:spLocks noGrp="1"/>
          </p:cNvSpPr>
          <p:nvPr>
            <p:ph type="sldNum" sz="quarter" idx="12"/>
          </p:nvPr>
        </p:nvSpPr>
        <p:spPr/>
        <p:txBody>
          <a:bodyPr/>
          <a:lstStyle/>
          <a:p>
            <a:fld id="{4A0B9D2D-6490-410F-BAA1-A5DF4CF5DAF3}" type="slidenum">
              <a:rPr lang="en-GB" smtClean="0"/>
              <a:t>17</a:t>
            </a:fld>
            <a:endParaRPr lang="en-GB"/>
          </a:p>
        </p:txBody>
      </p:sp>
      <p:sp>
        <p:nvSpPr>
          <p:cNvPr id="11" name="TextBox 10">
            <a:extLst>
              <a:ext uri="{FF2B5EF4-FFF2-40B4-BE49-F238E27FC236}">
                <a16:creationId xmlns:a16="http://schemas.microsoft.com/office/drawing/2014/main" id="{799010B4-3BDE-490F-B0D8-7AF8DC3EBFBD}"/>
              </a:ext>
            </a:extLst>
          </p:cNvPr>
          <p:cNvSpPr txBox="1"/>
          <p:nvPr/>
        </p:nvSpPr>
        <p:spPr>
          <a:xfrm>
            <a:off x="9040623" y="5576986"/>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year</a:t>
            </a:r>
          </a:p>
        </p:txBody>
      </p:sp>
    </p:spTree>
    <p:extLst>
      <p:ext uri="{BB962C8B-B14F-4D97-AF65-F5344CB8AC3E}">
        <p14:creationId xmlns:p14="http://schemas.microsoft.com/office/powerpoint/2010/main" val="2469131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4" descr="A picture containing text&#10;&#10;Description automatically generated">
            <a:extLst>
              <a:ext uri="{FF2B5EF4-FFF2-40B4-BE49-F238E27FC236}">
                <a16:creationId xmlns:a16="http://schemas.microsoft.com/office/drawing/2014/main" id="{E91A6006-B982-43B9-874A-E637FA4F8238}"/>
              </a:ext>
            </a:extLst>
          </p:cNvPr>
          <p:cNvPicPr>
            <a:picLocks noChangeAspect="1"/>
          </p:cNvPicPr>
          <p:nvPr/>
        </p:nvPicPr>
        <p:blipFill rotWithShape="1">
          <a:blip r:embed="rId2">
            <a:extLst>
              <a:ext uri="{28A0092B-C50C-407E-A947-70E740481C1C}">
                <a14:useLocalDpi xmlns:a14="http://schemas.microsoft.com/office/drawing/2010/main" val="0"/>
              </a:ext>
            </a:extLst>
          </a:blip>
          <a:srcRect t="41051" b="10885"/>
          <a:stretch/>
        </p:blipFill>
        <p:spPr>
          <a:xfrm>
            <a:off x="11012" y="0"/>
            <a:ext cx="12169976" cy="4387065"/>
          </a:xfrm>
          <a:prstGeom prst="rect">
            <a:avLst/>
          </a:prstGeom>
        </p:spPr>
      </p:pic>
      <p:sp>
        <p:nvSpPr>
          <p:cNvPr id="11" name="Freeform: Shape 10">
            <a:extLst>
              <a:ext uri="{FF2B5EF4-FFF2-40B4-BE49-F238E27FC236}">
                <a16:creationId xmlns:a16="http://schemas.microsoft.com/office/drawing/2014/main" id="{303CC970-4826-4CED-8063-0FB6766354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286518" y="4564049"/>
            <a:ext cx="3905483" cy="2293951"/>
          </a:xfrm>
          <a:custGeom>
            <a:avLst/>
            <a:gdLst>
              <a:gd name="connsiteX0" fmla="*/ 0 w 3905483"/>
              <a:gd name="connsiteY0" fmla="*/ 2293951 h 2293951"/>
              <a:gd name="connsiteX1" fmla="*/ 3905483 w 3905483"/>
              <a:gd name="connsiteY1" fmla="*/ 2293951 h 2293951"/>
              <a:gd name="connsiteX2" fmla="*/ 3905483 w 3905483"/>
              <a:gd name="connsiteY2" fmla="*/ 0 h 2293951"/>
              <a:gd name="connsiteX3" fmla="*/ 2479521 w 3905483"/>
              <a:gd name="connsiteY3" fmla="*/ 0 h 2293951"/>
              <a:gd name="connsiteX4" fmla="*/ 1739055 w 3905483"/>
              <a:gd name="connsiteY4" fmla="*/ 0 h 2293951"/>
              <a:gd name="connsiteX5" fmla="*/ 1737976 w 3905483"/>
              <a:gd name="connsiteY5" fmla="*/ 2332 h 2293951"/>
              <a:gd name="connsiteX6" fmla="*/ 1061319 w 3905483"/>
              <a:gd name="connsiteY6" fmla="*/ 2332 h 229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5483" h="2293951">
                <a:moveTo>
                  <a:pt x="0" y="2293951"/>
                </a:moveTo>
                <a:lnTo>
                  <a:pt x="3905483" y="2293951"/>
                </a:lnTo>
                <a:lnTo>
                  <a:pt x="3905483" y="0"/>
                </a:lnTo>
                <a:lnTo>
                  <a:pt x="2479521" y="0"/>
                </a:lnTo>
                <a:lnTo>
                  <a:pt x="1739055" y="0"/>
                </a:lnTo>
                <a:lnTo>
                  <a:pt x="1737976" y="2332"/>
                </a:lnTo>
                <a:lnTo>
                  <a:pt x="1061319" y="2332"/>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14490D63-3365-45CC-AC50-705C1B7681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4564049"/>
            <a:ext cx="9110805" cy="2293951"/>
          </a:xfrm>
          <a:custGeom>
            <a:avLst/>
            <a:gdLst>
              <a:gd name="connsiteX0" fmla="*/ 0 w 9110805"/>
              <a:gd name="connsiteY0" fmla="*/ 2293951 h 2293951"/>
              <a:gd name="connsiteX1" fmla="*/ 107316 w 9110805"/>
              <a:gd name="connsiteY1" fmla="*/ 2293951 h 2293951"/>
              <a:gd name="connsiteX2" fmla="*/ 7277190 w 9110805"/>
              <a:gd name="connsiteY2" fmla="*/ 2293951 h 2293951"/>
              <a:gd name="connsiteX3" fmla="*/ 8048407 w 9110805"/>
              <a:gd name="connsiteY3" fmla="*/ 2293951 h 2293951"/>
              <a:gd name="connsiteX4" fmla="*/ 9110805 w 9110805"/>
              <a:gd name="connsiteY4" fmla="*/ 0 h 2293951"/>
              <a:gd name="connsiteX5" fmla="*/ 8339588 w 9110805"/>
              <a:gd name="connsiteY5" fmla="*/ 0 h 2293951"/>
              <a:gd name="connsiteX6" fmla="*/ 107316 w 9110805"/>
              <a:gd name="connsiteY6" fmla="*/ 0 h 2293951"/>
              <a:gd name="connsiteX7" fmla="*/ 0 w 9110805"/>
              <a:gd name="connsiteY7" fmla="*/ 0 h 229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0805" h="2293951">
                <a:moveTo>
                  <a:pt x="0" y="2293951"/>
                </a:moveTo>
                <a:lnTo>
                  <a:pt x="107316" y="2293951"/>
                </a:lnTo>
                <a:lnTo>
                  <a:pt x="7277190" y="2293951"/>
                </a:lnTo>
                <a:lnTo>
                  <a:pt x="8048407" y="2293951"/>
                </a:lnTo>
                <a:lnTo>
                  <a:pt x="9110805" y="0"/>
                </a:lnTo>
                <a:lnTo>
                  <a:pt x="8339588" y="0"/>
                </a:lnTo>
                <a:lnTo>
                  <a:pt x="107316" y="0"/>
                </a:lnTo>
                <a:lnTo>
                  <a:pt x="0" y="0"/>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F1FCDA21-B467-470B-8113-EED371962CDA}"/>
              </a:ext>
            </a:extLst>
          </p:cNvPr>
          <p:cNvSpPr>
            <a:spLocks noGrp="1"/>
          </p:cNvSpPr>
          <p:nvPr>
            <p:ph type="title"/>
          </p:nvPr>
        </p:nvSpPr>
        <p:spPr>
          <a:xfrm>
            <a:off x="841248" y="4858247"/>
            <a:ext cx="6982834" cy="1026435"/>
          </a:xfrm>
        </p:spPr>
        <p:txBody>
          <a:bodyPr vert="horz" lIns="91440" tIns="45720" rIns="91440" bIns="45720" rtlCol="0" anchor="b">
            <a:normAutofit/>
          </a:bodyPr>
          <a:lstStyle/>
          <a:p>
            <a:r>
              <a:rPr lang="en-US" sz="4800">
                <a:solidFill>
                  <a:srgbClr val="FFFFFF"/>
                </a:solidFill>
              </a:rPr>
              <a:t>Financial Analysis</a:t>
            </a:r>
          </a:p>
        </p:txBody>
      </p:sp>
      <p:sp>
        <p:nvSpPr>
          <p:cNvPr id="9" name="Foliennummernplatzhalter 8">
            <a:extLst>
              <a:ext uri="{FF2B5EF4-FFF2-40B4-BE49-F238E27FC236}">
                <a16:creationId xmlns:a16="http://schemas.microsoft.com/office/drawing/2014/main" id="{FEE619B7-ACC3-4A93-9B78-89FDD58BAC07}"/>
              </a:ext>
            </a:extLst>
          </p:cNvPr>
          <p:cNvSpPr>
            <a:spLocks noGrp="1"/>
          </p:cNvSpPr>
          <p:nvPr>
            <p:ph type="sldNum" sz="quarter" idx="12"/>
          </p:nvPr>
        </p:nvSpPr>
        <p:spPr/>
        <p:txBody>
          <a:bodyPr/>
          <a:lstStyle/>
          <a:p>
            <a:fld id="{4A0B9D2D-6490-410F-BAA1-A5DF4CF5DAF3}" type="slidenum">
              <a:rPr lang="en-GB" smtClean="0"/>
              <a:t>18</a:t>
            </a:fld>
            <a:endParaRPr lang="en-GB"/>
          </a:p>
        </p:txBody>
      </p:sp>
    </p:spTree>
    <p:extLst>
      <p:ext uri="{BB962C8B-B14F-4D97-AF65-F5344CB8AC3E}">
        <p14:creationId xmlns:p14="http://schemas.microsoft.com/office/powerpoint/2010/main" val="990268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Graph on document with pen">
            <a:extLst>
              <a:ext uri="{FF2B5EF4-FFF2-40B4-BE49-F238E27FC236}">
                <a16:creationId xmlns:a16="http://schemas.microsoft.com/office/drawing/2014/main" id="{F5F4C416-7767-4B9A-96EC-4171A7121450}"/>
              </a:ext>
            </a:extLst>
          </p:cNvPr>
          <p:cNvPicPr>
            <a:picLocks noChangeAspect="1"/>
          </p:cNvPicPr>
          <p:nvPr/>
        </p:nvPicPr>
        <p:blipFill rotWithShape="1">
          <a:blip r:embed="rId2"/>
          <a:srcRect t="1415" b="14315"/>
          <a:stretch/>
        </p:blipFill>
        <p:spPr>
          <a:xfrm>
            <a:off x="20" y="10"/>
            <a:ext cx="12191980" cy="6857990"/>
          </a:xfrm>
          <a:prstGeom prst="rect">
            <a:avLst/>
          </a:prstGeom>
        </p:spPr>
      </p:pic>
      <p:sp>
        <p:nvSpPr>
          <p:cNvPr id="33" name="Rectangle 32">
            <a:extLst>
              <a:ext uri="{FF2B5EF4-FFF2-40B4-BE49-F238E27FC236}">
                <a16:creationId xmlns:a16="http://schemas.microsoft.com/office/drawing/2014/main" id="{FE040AD5-0D68-4621-AB86-12A9EDCCF60D}"/>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r>
              <a:rPr lang="en-US"/>
              <a:t>Rationale of the Financial Model</a:t>
            </a:r>
            <a:endParaRPr lang="en-US">
              <a:solidFill>
                <a:prstClr val="white"/>
              </a:solidFill>
            </a:endParaRPr>
          </a:p>
        </p:txBody>
      </p:sp>
      <p:sp>
        <p:nvSpPr>
          <p:cNvPr id="7" name="Foliennummernplatzhalter 6">
            <a:extLst>
              <a:ext uri="{FF2B5EF4-FFF2-40B4-BE49-F238E27FC236}">
                <a16:creationId xmlns:a16="http://schemas.microsoft.com/office/drawing/2014/main" id="{C8DAF9BF-0026-4E9F-88D3-DCAE15742B6F}"/>
              </a:ext>
            </a:extLst>
          </p:cNvPr>
          <p:cNvSpPr>
            <a:spLocks noGrp="1"/>
          </p:cNvSpPr>
          <p:nvPr>
            <p:ph type="sldNum" sz="quarter" idx="12"/>
          </p:nvPr>
        </p:nvSpPr>
        <p:spPr/>
        <p:txBody>
          <a:bodyPr/>
          <a:lstStyle/>
          <a:p>
            <a:fld id="{4A0B9D2D-6490-410F-BAA1-A5DF4CF5DAF3}" type="slidenum">
              <a:rPr lang="en-GB" smtClean="0"/>
              <a:t>19</a:t>
            </a:fld>
            <a:endParaRPr lang="en-GB"/>
          </a:p>
        </p:txBody>
      </p:sp>
      <p:sp>
        <p:nvSpPr>
          <p:cNvPr id="9" name="Content Placeholder 2">
            <a:extLst>
              <a:ext uri="{FF2B5EF4-FFF2-40B4-BE49-F238E27FC236}">
                <a16:creationId xmlns:a16="http://schemas.microsoft.com/office/drawing/2014/main" id="{1EE01DF2-DDDC-435F-B41A-8FA95852BE7E}"/>
              </a:ext>
            </a:extLst>
          </p:cNvPr>
          <p:cNvSpPr>
            <a:spLocks noGrp="1"/>
          </p:cNvSpPr>
          <p:nvPr>
            <p:ph idx="1"/>
          </p:nvPr>
        </p:nvSpPr>
        <p:spPr>
          <a:xfrm>
            <a:off x="123290" y="1400962"/>
            <a:ext cx="11722814" cy="5457028"/>
          </a:xfrm>
          <a:solidFill>
            <a:schemeClr val="bg1"/>
          </a:solidFill>
        </p:spPr>
        <p:txBody>
          <a:bodyPr vert="horz" lIns="91440" tIns="45720" rIns="91440" bIns="45720" rtlCol="0" anchor="t">
            <a:normAutofit/>
          </a:bodyPr>
          <a:lstStyle/>
          <a:p>
            <a:pPr marL="0" indent="0">
              <a:buNone/>
            </a:pPr>
            <a:r>
              <a:rPr lang="en-US" sz="1900" b="1"/>
              <a:t>Basic Assumptions of the financial model:</a:t>
            </a:r>
          </a:p>
          <a:p>
            <a:r>
              <a:rPr lang="en-US" sz="1900" b="1"/>
              <a:t>Construction &amp; Operation: </a:t>
            </a:r>
            <a:r>
              <a:rPr lang="en-US" sz="1600" i="1"/>
              <a:t> </a:t>
            </a:r>
            <a:r>
              <a:rPr lang="en-US" sz="1900"/>
              <a:t>Construction period: ten years from 2021-2030 / Construction cost: with a total cost of 28 Billion USD/  Operation period:  30 years from 2030-2060 </a:t>
            </a:r>
          </a:p>
          <a:p>
            <a:r>
              <a:rPr lang="en-US" sz="1900" b="1"/>
              <a:t>Toll Charge per vessel (revenue): </a:t>
            </a:r>
            <a:r>
              <a:rPr lang="en-US" sz="1900"/>
              <a:t>USD 200,000/per vessel, which is on par with the Suez and Panama Canal and could still save on fuel cost compared to the Malacca Strait option. The toll charge presumably increases at an inflation rate of 1% from 2020.</a:t>
            </a:r>
          </a:p>
          <a:p>
            <a:r>
              <a:rPr lang="en-US" sz="1900" b="1"/>
              <a:t>Potential number of vessels (2031-2060) through the Kra Canal </a:t>
            </a:r>
            <a:r>
              <a:rPr lang="en-US" sz="1900"/>
              <a:t>= (total number of vessels sailing across Asia and Europe </a:t>
            </a:r>
            <a:r>
              <a:rPr lang="de-DE" sz="1400" b="0" i="0">
                <a:solidFill>
                  <a:srgbClr val="4D5156"/>
                </a:solidFill>
                <a:effectLst/>
                <a:latin typeface="arial"/>
                <a:cs typeface="arial"/>
              </a:rPr>
              <a:t>−</a:t>
            </a:r>
            <a:r>
              <a:rPr lang="en-US" sz="1900"/>
              <a:t> number of vessels sailing through the North Sea Route) *50%</a:t>
            </a:r>
          </a:p>
          <a:p>
            <a:pPr>
              <a:buFont typeface="Wingdings" panose="05000000000000000000" pitchFamily="2" charset="2"/>
              <a:buChar char="Ø"/>
            </a:pPr>
            <a:r>
              <a:rPr lang="en-US" sz="1900"/>
              <a:t> </a:t>
            </a:r>
            <a:r>
              <a:rPr lang="en-US" sz="1600" i="1"/>
              <a:t>Total number of vessels sailing across Asia and Europe is predicted based on its historical data (2000-2017)</a:t>
            </a:r>
          </a:p>
          <a:p>
            <a:pPr>
              <a:buFont typeface="Wingdings" panose="05000000000000000000" pitchFamily="2" charset="2"/>
              <a:buChar char="Ø"/>
            </a:pPr>
            <a:r>
              <a:rPr lang="en-US" sz="1600" i="1"/>
              <a:t>  The number of vessels sailing through the North Sea Route is predicted based on its historical data(2010-2020) and the target set by President Putin(2021-2030).</a:t>
            </a:r>
          </a:p>
          <a:p>
            <a:r>
              <a:rPr lang="en-US" sz="1900" b="1"/>
              <a:t>Interest rate of the construction loan (Same with 20 years Thai government bond): </a:t>
            </a:r>
            <a:r>
              <a:rPr lang="en-US" sz="1900"/>
              <a:t>2.58%</a:t>
            </a:r>
          </a:p>
          <a:p>
            <a:r>
              <a:rPr lang="en-US" sz="1900" b="1"/>
              <a:t>Operation cost: </a:t>
            </a:r>
            <a:r>
              <a:rPr lang="en-US" sz="1900"/>
              <a:t>20% of total revenue </a:t>
            </a:r>
          </a:p>
          <a:p>
            <a:r>
              <a:rPr lang="en-US" sz="1900" b="1"/>
              <a:t>Corporate Tax </a:t>
            </a:r>
            <a:r>
              <a:rPr lang="de-DE" sz="1900"/>
              <a:t>:</a:t>
            </a:r>
            <a:r>
              <a:rPr lang="en-US" sz="1900"/>
              <a:t> 20% of net income</a:t>
            </a:r>
          </a:p>
        </p:txBody>
      </p:sp>
      <p:sp>
        <p:nvSpPr>
          <p:cNvPr id="5" name="Textfeld 4">
            <a:extLst>
              <a:ext uri="{FF2B5EF4-FFF2-40B4-BE49-F238E27FC236}">
                <a16:creationId xmlns:a16="http://schemas.microsoft.com/office/drawing/2014/main" id="{E4C6FEE4-FAC5-4232-A382-ACB13755179B}"/>
              </a:ext>
            </a:extLst>
          </p:cNvPr>
          <p:cNvSpPr txBox="1"/>
          <p:nvPr/>
        </p:nvSpPr>
        <p:spPr>
          <a:xfrm>
            <a:off x="123290" y="6211659"/>
            <a:ext cx="11722814" cy="646331"/>
          </a:xfrm>
          <a:prstGeom prst="rect">
            <a:avLst/>
          </a:prstGeom>
          <a:solidFill>
            <a:schemeClr val="accent1">
              <a:lumMod val="50000"/>
            </a:schemeClr>
          </a:solidFill>
        </p:spPr>
        <p:txBody>
          <a:bodyPr wrap="square" rtlCol="0">
            <a:spAutoFit/>
          </a:bodyPr>
          <a:lstStyle/>
          <a:p>
            <a:r>
              <a:rPr lang="en-US" sz="1800" b="1" i="1">
                <a:solidFill>
                  <a:schemeClr val="bg1"/>
                </a:solidFill>
              </a:rPr>
              <a:t>The construction of scenario analysis depends on the melting rate of Arctic sea ice. (see next slide)</a:t>
            </a:r>
          </a:p>
          <a:p>
            <a:endParaRPr lang="de-DE">
              <a:solidFill>
                <a:schemeClr val="bg1"/>
              </a:solidFill>
            </a:endParaRPr>
          </a:p>
        </p:txBody>
      </p:sp>
    </p:spTree>
    <p:extLst>
      <p:ext uri="{BB962C8B-B14F-4D97-AF65-F5344CB8AC3E}">
        <p14:creationId xmlns:p14="http://schemas.microsoft.com/office/powerpoint/2010/main" val="666581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7EA88D-7453-4DC4-9BF4-5A82E7F44615}"/>
              </a:ext>
            </a:extLst>
          </p:cNvPr>
          <p:cNvSpPr txBox="1"/>
          <p:nvPr/>
        </p:nvSpPr>
        <p:spPr>
          <a:xfrm>
            <a:off x="129925" y="0"/>
            <a:ext cx="4754205" cy="830997"/>
          </a:xfrm>
          <a:prstGeom prst="rect">
            <a:avLst/>
          </a:prstGeom>
          <a:noFill/>
        </p:spPr>
        <p:txBody>
          <a:bodyPr wrap="square" rtlCol="0">
            <a:spAutoFit/>
          </a:bodyPr>
          <a:lstStyle/>
          <a:p>
            <a:r>
              <a:rPr lang="de-DE" sz="4800">
                <a:solidFill>
                  <a:schemeClr val="bg1"/>
                </a:solidFill>
                <a:latin typeface="+mj-lt"/>
                <a:ea typeface="+mj-ea"/>
                <a:cs typeface="+mj-cs"/>
              </a:rPr>
              <a:t>Content</a:t>
            </a:r>
            <a:endParaRPr lang="en-US" sz="4800">
              <a:solidFill>
                <a:schemeClr val="bg1"/>
              </a:solidFill>
              <a:latin typeface="+mj-lt"/>
              <a:ea typeface="+mj-ea"/>
              <a:cs typeface="+mj-cs"/>
            </a:endParaRPr>
          </a:p>
        </p:txBody>
      </p:sp>
      <p:pic>
        <p:nvPicPr>
          <p:cNvPr id="5" name="Picture 4" descr="A picture containing sky, outdoor, cargo container, line&#10;&#10;Description automatically generated">
            <a:extLst>
              <a:ext uri="{FF2B5EF4-FFF2-40B4-BE49-F238E27FC236}">
                <a16:creationId xmlns:a16="http://schemas.microsoft.com/office/drawing/2014/main" id="{00BAAB7D-B0E3-4D84-B667-4A9564F329C6}"/>
              </a:ext>
            </a:extLst>
          </p:cNvPr>
          <p:cNvPicPr>
            <a:picLocks noChangeAspect="1"/>
          </p:cNvPicPr>
          <p:nvPr/>
        </p:nvPicPr>
        <p:blipFill rotWithShape="1">
          <a:blip r:embed="rId2">
            <a:extLst>
              <a:ext uri="{28A0092B-C50C-407E-A947-70E740481C1C}">
                <a14:useLocalDpi xmlns:a14="http://schemas.microsoft.com/office/drawing/2010/main" val="0"/>
              </a:ext>
            </a:extLst>
          </a:blip>
          <a:srcRect l="40489"/>
          <a:stretch/>
        </p:blipFill>
        <p:spPr>
          <a:xfrm>
            <a:off x="6096000" y="0"/>
            <a:ext cx="6096000" cy="6858000"/>
          </a:xfrm>
          <a:prstGeom prst="rect">
            <a:avLst/>
          </a:prstGeom>
        </p:spPr>
      </p:pic>
      <p:grpSp>
        <p:nvGrpSpPr>
          <p:cNvPr id="14" name="Group 13">
            <a:extLst>
              <a:ext uri="{FF2B5EF4-FFF2-40B4-BE49-F238E27FC236}">
                <a16:creationId xmlns:a16="http://schemas.microsoft.com/office/drawing/2014/main" id="{7ED23428-E902-4790-8712-0E5D758418D6}"/>
              </a:ext>
            </a:extLst>
          </p:cNvPr>
          <p:cNvGrpSpPr/>
          <p:nvPr/>
        </p:nvGrpSpPr>
        <p:grpSpPr>
          <a:xfrm>
            <a:off x="330739" y="1081269"/>
            <a:ext cx="4970834" cy="992171"/>
            <a:chOff x="330739" y="1401921"/>
            <a:chExt cx="4970834" cy="992171"/>
          </a:xfrm>
          <a:solidFill>
            <a:schemeClr val="accent5">
              <a:lumMod val="50000"/>
            </a:schemeClr>
          </a:solidFill>
        </p:grpSpPr>
        <p:sp>
          <p:nvSpPr>
            <p:cNvPr id="6" name="Rectangle 5">
              <a:extLst>
                <a:ext uri="{FF2B5EF4-FFF2-40B4-BE49-F238E27FC236}">
                  <a16:creationId xmlns:a16="http://schemas.microsoft.com/office/drawing/2014/main" id="{1D38FE4B-EEAA-4E84-8664-0C1DB78425B5}"/>
                </a:ext>
              </a:extLst>
            </p:cNvPr>
            <p:cNvSpPr/>
            <p:nvPr/>
          </p:nvSpPr>
          <p:spPr>
            <a:xfrm>
              <a:off x="1439692" y="1625633"/>
              <a:ext cx="3861881" cy="544749"/>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3200"/>
                <a:t>Background Analysis</a:t>
              </a:r>
              <a:endParaRPr lang="en-US" sz="3200"/>
            </a:p>
          </p:txBody>
        </p:sp>
        <p:sp>
          <p:nvSpPr>
            <p:cNvPr id="12" name="Oval 11">
              <a:extLst>
                <a:ext uri="{FF2B5EF4-FFF2-40B4-BE49-F238E27FC236}">
                  <a16:creationId xmlns:a16="http://schemas.microsoft.com/office/drawing/2014/main" id="{275811F5-6DBC-4FE3-B485-DED881826A8C}"/>
                </a:ext>
              </a:extLst>
            </p:cNvPr>
            <p:cNvSpPr/>
            <p:nvPr/>
          </p:nvSpPr>
          <p:spPr>
            <a:xfrm>
              <a:off x="330739" y="1401921"/>
              <a:ext cx="1011677" cy="992171"/>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a:t>1.</a:t>
              </a:r>
              <a:endParaRPr lang="en-US"/>
            </a:p>
          </p:txBody>
        </p:sp>
      </p:grpSp>
      <p:grpSp>
        <p:nvGrpSpPr>
          <p:cNvPr id="20" name="Group 19">
            <a:extLst>
              <a:ext uri="{FF2B5EF4-FFF2-40B4-BE49-F238E27FC236}">
                <a16:creationId xmlns:a16="http://schemas.microsoft.com/office/drawing/2014/main" id="{42540B91-846C-4F89-BC18-164AE6F41D30}"/>
              </a:ext>
            </a:extLst>
          </p:cNvPr>
          <p:cNvGrpSpPr/>
          <p:nvPr/>
        </p:nvGrpSpPr>
        <p:grpSpPr>
          <a:xfrm>
            <a:off x="330739" y="2202684"/>
            <a:ext cx="4970834" cy="992171"/>
            <a:chOff x="330739" y="1401921"/>
            <a:chExt cx="4970834" cy="992171"/>
          </a:xfrm>
          <a:solidFill>
            <a:schemeClr val="tx2"/>
          </a:solidFill>
        </p:grpSpPr>
        <p:sp>
          <p:nvSpPr>
            <p:cNvPr id="21" name="Rectangle 20">
              <a:extLst>
                <a:ext uri="{FF2B5EF4-FFF2-40B4-BE49-F238E27FC236}">
                  <a16:creationId xmlns:a16="http://schemas.microsoft.com/office/drawing/2014/main" id="{F5570017-BACB-4F40-8534-EED006C993B4}"/>
                </a:ext>
              </a:extLst>
            </p:cNvPr>
            <p:cNvSpPr/>
            <p:nvPr/>
          </p:nvSpPr>
          <p:spPr>
            <a:xfrm>
              <a:off x="1439692" y="1625633"/>
              <a:ext cx="3861881" cy="544749"/>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a:t>PESTLE Analysis</a:t>
              </a:r>
              <a:endParaRPr lang="en-US" sz="3200"/>
            </a:p>
          </p:txBody>
        </p:sp>
        <p:sp>
          <p:nvSpPr>
            <p:cNvPr id="22" name="Oval 21">
              <a:extLst>
                <a:ext uri="{FF2B5EF4-FFF2-40B4-BE49-F238E27FC236}">
                  <a16:creationId xmlns:a16="http://schemas.microsoft.com/office/drawing/2014/main" id="{94640E42-0337-4665-8522-BE940A1E5FBF}"/>
                </a:ext>
              </a:extLst>
            </p:cNvPr>
            <p:cNvSpPr/>
            <p:nvPr/>
          </p:nvSpPr>
          <p:spPr>
            <a:xfrm>
              <a:off x="330739" y="1401921"/>
              <a:ext cx="1011677" cy="992171"/>
            </a:xfrm>
            <a:prstGeom prst="ellipse">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a:t>2.</a:t>
              </a:r>
              <a:endParaRPr lang="en-US"/>
            </a:p>
          </p:txBody>
        </p:sp>
      </p:grpSp>
      <p:grpSp>
        <p:nvGrpSpPr>
          <p:cNvPr id="23" name="Group 22">
            <a:extLst>
              <a:ext uri="{FF2B5EF4-FFF2-40B4-BE49-F238E27FC236}">
                <a16:creationId xmlns:a16="http://schemas.microsoft.com/office/drawing/2014/main" id="{4F2313E1-C8FE-413B-9426-E75FE41D6373}"/>
              </a:ext>
            </a:extLst>
          </p:cNvPr>
          <p:cNvGrpSpPr/>
          <p:nvPr/>
        </p:nvGrpSpPr>
        <p:grpSpPr>
          <a:xfrm>
            <a:off x="330739" y="3324099"/>
            <a:ext cx="4970834" cy="992171"/>
            <a:chOff x="330739" y="1401921"/>
            <a:chExt cx="4970834" cy="992171"/>
          </a:xfrm>
          <a:solidFill>
            <a:schemeClr val="accent5">
              <a:lumMod val="50000"/>
            </a:schemeClr>
          </a:solidFill>
        </p:grpSpPr>
        <p:sp>
          <p:nvSpPr>
            <p:cNvPr id="24" name="Rectangle 23">
              <a:extLst>
                <a:ext uri="{FF2B5EF4-FFF2-40B4-BE49-F238E27FC236}">
                  <a16:creationId xmlns:a16="http://schemas.microsoft.com/office/drawing/2014/main" id="{66172E90-EC84-452C-9932-4D3A8B6D5C1E}"/>
                </a:ext>
              </a:extLst>
            </p:cNvPr>
            <p:cNvSpPr/>
            <p:nvPr/>
          </p:nvSpPr>
          <p:spPr>
            <a:xfrm>
              <a:off x="1439692" y="1625633"/>
              <a:ext cx="3861881" cy="544749"/>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3200"/>
                <a:t>Climate Data Analysis</a:t>
              </a:r>
              <a:endParaRPr lang="en-US" sz="3200"/>
            </a:p>
          </p:txBody>
        </p:sp>
        <p:sp>
          <p:nvSpPr>
            <p:cNvPr id="25" name="Oval 24">
              <a:extLst>
                <a:ext uri="{FF2B5EF4-FFF2-40B4-BE49-F238E27FC236}">
                  <a16:creationId xmlns:a16="http://schemas.microsoft.com/office/drawing/2014/main" id="{C7C1125B-C499-45DF-82C8-8494D237262E}"/>
                </a:ext>
              </a:extLst>
            </p:cNvPr>
            <p:cNvSpPr/>
            <p:nvPr/>
          </p:nvSpPr>
          <p:spPr>
            <a:xfrm>
              <a:off x="330739" y="1401921"/>
              <a:ext cx="1011677" cy="992171"/>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a:t>3.</a:t>
              </a:r>
              <a:endParaRPr lang="en-US"/>
            </a:p>
          </p:txBody>
        </p:sp>
      </p:grpSp>
      <p:grpSp>
        <p:nvGrpSpPr>
          <p:cNvPr id="26" name="Group 25">
            <a:extLst>
              <a:ext uri="{FF2B5EF4-FFF2-40B4-BE49-F238E27FC236}">
                <a16:creationId xmlns:a16="http://schemas.microsoft.com/office/drawing/2014/main" id="{620BE3C6-0A96-4E87-9B5E-79474B5738D1}"/>
              </a:ext>
            </a:extLst>
          </p:cNvPr>
          <p:cNvGrpSpPr/>
          <p:nvPr/>
        </p:nvGrpSpPr>
        <p:grpSpPr>
          <a:xfrm>
            <a:off x="330739" y="4445514"/>
            <a:ext cx="4970834" cy="992171"/>
            <a:chOff x="330739" y="1401921"/>
            <a:chExt cx="4970834" cy="992171"/>
          </a:xfrm>
          <a:solidFill>
            <a:schemeClr val="accent5">
              <a:lumMod val="50000"/>
            </a:schemeClr>
          </a:solidFill>
        </p:grpSpPr>
        <p:sp>
          <p:nvSpPr>
            <p:cNvPr id="27" name="Rectangle 26">
              <a:extLst>
                <a:ext uri="{FF2B5EF4-FFF2-40B4-BE49-F238E27FC236}">
                  <a16:creationId xmlns:a16="http://schemas.microsoft.com/office/drawing/2014/main" id="{3F1E951E-C678-4D0D-958D-901162C44FC0}"/>
                </a:ext>
              </a:extLst>
            </p:cNvPr>
            <p:cNvSpPr/>
            <p:nvPr/>
          </p:nvSpPr>
          <p:spPr>
            <a:xfrm>
              <a:off x="1439692" y="1625633"/>
              <a:ext cx="3861881" cy="544749"/>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a:t>Financial Analysis</a:t>
              </a:r>
              <a:endParaRPr lang="en-US" sz="3200"/>
            </a:p>
          </p:txBody>
        </p:sp>
        <p:sp>
          <p:nvSpPr>
            <p:cNvPr id="28" name="Oval 27">
              <a:extLst>
                <a:ext uri="{FF2B5EF4-FFF2-40B4-BE49-F238E27FC236}">
                  <a16:creationId xmlns:a16="http://schemas.microsoft.com/office/drawing/2014/main" id="{DFDB3A2B-5D18-45F4-B7CC-CE79281B8C9C}"/>
                </a:ext>
              </a:extLst>
            </p:cNvPr>
            <p:cNvSpPr/>
            <p:nvPr/>
          </p:nvSpPr>
          <p:spPr>
            <a:xfrm>
              <a:off x="330739" y="1401921"/>
              <a:ext cx="1011677" cy="992171"/>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a:t>4.</a:t>
              </a:r>
              <a:endParaRPr lang="en-US"/>
            </a:p>
          </p:txBody>
        </p:sp>
      </p:grpSp>
      <p:grpSp>
        <p:nvGrpSpPr>
          <p:cNvPr id="29" name="Group 28">
            <a:extLst>
              <a:ext uri="{FF2B5EF4-FFF2-40B4-BE49-F238E27FC236}">
                <a16:creationId xmlns:a16="http://schemas.microsoft.com/office/drawing/2014/main" id="{0B8F9B5B-71AB-4C01-995B-B0A307017A9A}"/>
              </a:ext>
            </a:extLst>
          </p:cNvPr>
          <p:cNvGrpSpPr/>
          <p:nvPr/>
        </p:nvGrpSpPr>
        <p:grpSpPr>
          <a:xfrm>
            <a:off x="330739" y="5571410"/>
            <a:ext cx="4970834" cy="992171"/>
            <a:chOff x="330739" y="1401921"/>
            <a:chExt cx="4970834" cy="992171"/>
          </a:xfrm>
          <a:solidFill>
            <a:schemeClr val="accent5">
              <a:lumMod val="50000"/>
            </a:schemeClr>
          </a:solidFill>
        </p:grpSpPr>
        <p:sp>
          <p:nvSpPr>
            <p:cNvPr id="30" name="Rectangle 29">
              <a:extLst>
                <a:ext uri="{FF2B5EF4-FFF2-40B4-BE49-F238E27FC236}">
                  <a16:creationId xmlns:a16="http://schemas.microsoft.com/office/drawing/2014/main" id="{6EB666A8-EA24-4A32-B6B0-00F546FB92A4}"/>
                </a:ext>
              </a:extLst>
            </p:cNvPr>
            <p:cNvSpPr/>
            <p:nvPr/>
          </p:nvSpPr>
          <p:spPr>
            <a:xfrm>
              <a:off x="1439692" y="1625633"/>
              <a:ext cx="3861881" cy="544749"/>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3200"/>
                <a:t>Conclusion</a:t>
              </a:r>
            </a:p>
          </p:txBody>
        </p:sp>
        <p:sp>
          <p:nvSpPr>
            <p:cNvPr id="31" name="Oval 30">
              <a:extLst>
                <a:ext uri="{FF2B5EF4-FFF2-40B4-BE49-F238E27FC236}">
                  <a16:creationId xmlns:a16="http://schemas.microsoft.com/office/drawing/2014/main" id="{1DC98BF0-6B80-46D8-93F9-9181CFB3CF80}"/>
                </a:ext>
              </a:extLst>
            </p:cNvPr>
            <p:cNvSpPr/>
            <p:nvPr/>
          </p:nvSpPr>
          <p:spPr>
            <a:xfrm>
              <a:off x="330739" y="1401921"/>
              <a:ext cx="1011677" cy="992171"/>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a:t>5.</a:t>
              </a:r>
              <a:endParaRPr lang="en-US"/>
            </a:p>
          </p:txBody>
        </p:sp>
      </p:grpSp>
      <p:sp>
        <p:nvSpPr>
          <p:cNvPr id="7" name="Foliennummernplatzhalter 6">
            <a:extLst>
              <a:ext uri="{FF2B5EF4-FFF2-40B4-BE49-F238E27FC236}">
                <a16:creationId xmlns:a16="http://schemas.microsoft.com/office/drawing/2014/main" id="{BD738EA1-63C4-4238-9667-0AAD380AF763}"/>
              </a:ext>
            </a:extLst>
          </p:cNvPr>
          <p:cNvSpPr>
            <a:spLocks noGrp="1"/>
          </p:cNvSpPr>
          <p:nvPr>
            <p:ph type="sldNum" sz="quarter" idx="12"/>
          </p:nvPr>
        </p:nvSpPr>
        <p:spPr/>
        <p:txBody>
          <a:bodyPr/>
          <a:lstStyle/>
          <a:p>
            <a:fld id="{4A0B9D2D-6490-410F-BAA1-A5DF4CF5DAF3}" type="slidenum">
              <a:rPr lang="en-GB" smtClean="0"/>
              <a:t>2</a:t>
            </a:fld>
            <a:endParaRPr lang="en-GB"/>
          </a:p>
        </p:txBody>
      </p:sp>
    </p:spTree>
    <p:extLst>
      <p:ext uri="{BB962C8B-B14F-4D97-AF65-F5344CB8AC3E}">
        <p14:creationId xmlns:p14="http://schemas.microsoft.com/office/powerpoint/2010/main" val="265307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Graph on document with pen">
            <a:extLst>
              <a:ext uri="{FF2B5EF4-FFF2-40B4-BE49-F238E27FC236}">
                <a16:creationId xmlns:a16="http://schemas.microsoft.com/office/drawing/2014/main" id="{F5F4C416-7767-4B9A-96EC-4171A7121450}"/>
              </a:ext>
            </a:extLst>
          </p:cNvPr>
          <p:cNvPicPr>
            <a:picLocks noChangeAspect="1"/>
          </p:cNvPicPr>
          <p:nvPr/>
        </p:nvPicPr>
        <p:blipFill rotWithShape="1">
          <a:blip r:embed="rId2"/>
          <a:srcRect t="1415" b="14315"/>
          <a:stretch/>
        </p:blipFill>
        <p:spPr>
          <a:xfrm>
            <a:off x="20" y="10"/>
            <a:ext cx="12191980" cy="6857990"/>
          </a:xfrm>
          <a:prstGeom prst="rect">
            <a:avLst/>
          </a:prstGeom>
        </p:spPr>
      </p:pic>
      <p:sp>
        <p:nvSpPr>
          <p:cNvPr id="4" name="Rectangle 3">
            <a:extLst>
              <a:ext uri="{FF2B5EF4-FFF2-40B4-BE49-F238E27FC236}">
                <a16:creationId xmlns:a16="http://schemas.microsoft.com/office/drawing/2014/main" id="{3CF18923-1425-454C-99F8-A290419A9973}"/>
              </a:ext>
            </a:extLst>
          </p:cNvPr>
          <p:cNvSpPr/>
          <p:nvPr/>
        </p:nvSpPr>
        <p:spPr>
          <a:xfrm>
            <a:off x="0" y="1536970"/>
            <a:ext cx="9873554" cy="44747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E040AD5-0D68-4621-AB86-12A9EDCCF60D}"/>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r>
              <a:rPr lang="de-DE">
                <a:solidFill>
                  <a:prstClr val="white"/>
                </a:solidFill>
              </a:rPr>
              <a:t>Financial Model</a:t>
            </a:r>
          </a:p>
          <a:p>
            <a:pPr algn="ctr" defTabSz="914194"/>
            <a:r>
              <a:rPr lang="de-DE">
                <a:solidFill>
                  <a:prstClr val="white"/>
                </a:solidFill>
              </a:rPr>
              <a:t>Best Case Scenario</a:t>
            </a:r>
            <a:endParaRPr lang="en-US">
              <a:solidFill>
                <a:prstClr val="white"/>
              </a:solidFill>
            </a:endParaRPr>
          </a:p>
        </p:txBody>
      </p:sp>
      <p:graphicFrame>
        <p:nvGraphicFramePr>
          <p:cNvPr id="2" name="Table 1">
            <a:extLst>
              <a:ext uri="{FF2B5EF4-FFF2-40B4-BE49-F238E27FC236}">
                <a16:creationId xmlns:a16="http://schemas.microsoft.com/office/drawing/2014/main" id="{0ADCBCD8-6480-4A6B-8EBB-96F48644C21D}"/>
              </a:ext>
            </a:extLst>
          </p:cNvPr>
          <p:cNvGraphicFramePr>
            <a:graphicFrameLocks noGrp="1"/>
          </p:cNvGraphicFramePr>
          <p:nvPr>
            <p:extLst>
              <p:ext uri="{D42A27DB-BD31-4B8C-83A1-F6EECF244321}">
                <p14:modId xmlns:p14="http://schemas.microsoft.com/office/powerpoint/2010/main" val="3527769428"/>
              </p:ext>
            </p:extLst>
          </p:nvPr>
        </p:nvGraphicFramePr>
        <p:xfrm>
          <a:off x="0" y="1318068"/>
          <a:ext cx="11462446" cy="4693623"/>
        </p:xfrm>
        <a:graphic>
          <a:graphicData uri="http://schemas.openxmlformats.org/drawingml/2006/table">
            <a:tbl>
              <a:tblPr>
                <a:tableStyleId>{5C22544A-7EE6-4342-B048-85BDC9FD1C3A}</a:tableStyleId>
              </a:tblPr>
              <a:tblGrid>
                <a:gridCol w="472751">
                  <a:extLst>
                    <a:ext uri="{9D8B030D-6E8A-4147-A177-3AD203B41FA5}">
                      <a16:colId xmlns:a16="http://schemas.microsoft.com/office/drawing/2014/main" val="2403558879"/>
                    </a:ext>
                  </a:extLst>
                </a:gridCol>
                <a:gridCol w="598506">
                  <a:extLst>
                    <a:ext uri="{9D8B030D-6E8A-4147-A177-3AD203B41FA5}">
                      <a16:colId xmlns:a16="http://schemas.microsoft.com/office/drawing/2014/main" val="2659739847"/>
                    </a:ext>
                  </a:extLst>
                </a:gridCol>
                <a:gridCol w="765184">
                  <a:extLst>
                    <a:ext uri="{9D8B030D-6E8A-4147-A177-3AD203B41FA5}">
                      <a16:colId xmlns:a16="http://schemas.microsoft.com/office/drawing/2014/main" val="3195267195"/>
                    </a:ext>
                  </a:extLst>
                </a:gridCol>
                <a:gridCol w="726924">
                  <a:extLst>
                    <a:ext uri="{9D8B030D-6E8A-4147-A177-3AD203B41FA5}">
                      <a16:colId xmlns:a16="http://schemas.microsoft.com/office/drawing/2014/main" val="960698691"/>
                    </a:ext>
                  </a:extLst>
                </a:gridCol>
                <a:gridCol w="726924">
                  <a:extLst>
                    <a:ext uri="{9D8B030D-6E8A-4147-A177-3AD203B41FA5}">
                      <a16:colId xmlns:a16="http://schemas.microsoft.com/office/drawing/2014/main" val="4157751358"/>
                    </a:ext>
                  </a:extLst>
                </a:gridCol>
                <a:gridCol w="581541">
                  <a:extLst>
                    <a:ext uri="{9D8B030D-6E8A-4147-A177-3AD203B41FA5}">
                      <a16:colId xmlns:a16="http://schemas.microsoft.com/office/drawing/2014/main" val="1601531864"/>
                    </a:ext>
                  </a:extLst>
                </a:gridCol>
                <a:gridCol w="772834">
                  <a:extLst>
                    <a:ext uri="{9D8B030D-6E8A-4147-A177-3AD203B41FA5}">
                      <a16:colId xmlns:a16="http://schemas.microsoft.com/office/drawing/2014/main" val="3999165691"/>
                    </a:ext>
                  </a:extLst>
                </a:gridCol>
                <a:gridCol w="719273">
                  <a:extLst>
                    <a:ext uri="{9D8B030D-6E8A-4147-A177-3AD203B41FA5}">
                      <a16:colId xmlns:a16="http://schemas.microsoft.com/office/drawing/2014/main" val="1473169915"/>
                    </a:ext>
                  </a:extLst>
                </a:gridCol>
                <a:gridCol w="772834">
                  <a:extLst>
                    <a:ext uri="{9D8B030D-6E8A-4147-A177-3AD203B41FA5}">
                      <a16:colId xmlns:a16="http://schemas.microsoft.com/office/drawing/2014/main" val="49879481"/>
                    </a:ext>
                  </a:extLst>
                </a:gridCol>
                <a:gridCol w="719273">
                  <a:extLst>
                    <a:ext uri="{9D8B030D-6E8A-4147-A177-3AD203B41FA5}">
                      <a16:colId xmlns:a16="http://schemas.microsoft.com/office/drawing/2014/main" val="852865576"/>
                    </a:ext>
                  </a:extLst>
                </a:gridCol>
                <a:gridCol w="765184">
                  <a:extLst>
                    <a:ext uri="{9D8B030D-6E8A-4147-A177-3AD203B41FA5}">
                      <a16:colId xmlns:a16="http://schemas.microsoft.com/office/drawing/2014/main" val="2714811032"/>
                    </a:ext>
                  </a:extLst>
                </a:gridCol>
                <a:gridCol w="765184">
                  <a:extLst>
                    <a:ext uri="{9D8B030D-6E8A-4147-A177-3AD203B41FA5}">
                      <a16:colId xmlns:a16="http://schemas.microsoft.com/office/drawing/2014/main" val="3598984653"/>
                    </a:ext>
                  </a:extLst>
                </a:gridCol>
                <a:gridCol w="772834">
                  <a:extLst>
                    <a:ext uri="{9D8B030D-6E8A-4147-A177-3AD203B41FA5}">
                      <a16:colId xmlns:a16="http://schemas.microsoft.com/office/drawing/2014/main" val="3628718764"/>
                    </a:ext>
                  </a:extLst>
                </a:gridCol>
                <a:gridCol w="772834">
                  <a:extLst>
                    <a:ext uri="{9D8B030D-6E8A-4147-A177-3AD203B41FA5}">
                      <a16:colId xmlns:a16="http://schemas.microsoft.com/office/drawing/2014/main" val="1990526756"/>
                    </a:ext>
                  </a:extLst>
                </a:gridCol>
                <a:gridCol w="719273">
                  <a:extLst>
                    <a:ext uri="{9D8B030D-6E8A-4147-A177-3AD203B41FA5}">
                      <a16:colId xmlns:a16="http://schemas.microsoft.com/office/drawing/2014/main" val="159458070"/>
                    </a:ext>
                  </a:extLst>
                </a:gridCol>
                <a:gridCol w="811093">
                  <a:extLst>
                    <a:ext uri="{9D8B030D-6E8A-4147-A177-3AD203B41FA5}">
                      <a16:colId xmlns:a16="http://schemas.microsoft.com/office/drawing/2014/main" val="715035623"/>
                    </a:ext>
                  </a:extLst>
                </a:gridCol>
              </a:tblGrid>
              <a:tr h="794863">
                <a:tc>
                  <a:txBody>
                    <a:bodyPr/>
                    <a:lstStyle/>
                    <a:p>
                      <a:pPr algn="ctr" fontAlgn="ctr"/>
                      <a:r>
                        <a:rPr lang="en-US" sz="600" u="none" strike="noStrike">
                          <a:effectLst/>
                        </a:rPr>
                        <a:t>Internal Rate Of Return: 1.6%</a:t>
                      </a:r>
                      <a:endParaRPr lang="en-US" sz="600" b="1" i="0" u="none" strike="noStrike">
                        <a:solidFill>
                          <a:srgbClr val="C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tal Nr. Of  </a:t>
                      </a:r>
                      <a:br>
                        <a:rPr lang="en-US" sz="600" u="none" strike="noStrike">
                          <a:effectLst/>
                        </a:rPr>
                      </a:br>
                      <a:r>
                        <a:rPr lang="en-US" sz="600" u="none" strike="noStrike">
                          <a:effectLst/>
                        </a:rPr>
                        <a:t>Vessels between </a:t>
                      </a:r>
                      <a:br>
                        <a:rPr lang="en-US" sz="600" u="none" strike="noStrike">
                          <a:effectLst/>
                        </a:rPr>
                      </a:br>
                      <a:r>
                        <a:rPr lang="en-US" sz="600" u="none" strike="noStrike">
                          <a:effectLst/>
                        </a:rPr>
                        <a:t>Europe and Asia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Vessels transit through North Sea Route</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Malacca and </a:t>
                      </a:r>
                      <a:br>
                        <a:rPr lang="en-US" sz="600" u="none" strike="noStrike">
                          <a:effectLst/>
                        </a:rPr>
                      </a:br>
                      <a:r>
                        <a:rPr lang="en-US" sz="600" u="none" strike="noStrike">
                          <a:effectLst/>
                        </a:rPr>
                        <a:t>Thai Canal</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Predicted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Thai Canal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ll Charges </a:t>
                      </a:r>
                      <a:br>
                        <a:rPr lang="en-US" sz="600" u="none" strike="noStrike">
                          <a:effectLst/>
                        </a:rPr>
                      </a:br>
                      <a:r>
                        <a:rPr lang="en-US" sz="600" u="none" strike="noStrike">
                          <a:effectLst/>
                        </a:rPr>
                        <a:t>per vessel</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Revnue</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Operation Cost </a:t>
                      </a:r>
                      <a:br>
                        <a:rPr lang="en-US" sz="600" u="none" strike="noStrike">
                          <a:effectLst/>
                        </a:rPr>
                      </a:br>
                      <a:r>
                        <a:rPr lang="en-US" sz="600" u="none" strike="noStrike">
                          <a:effectLst/>
                        </a:rPr>
                        <a:t>20% of Revenue</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BI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Debt Repaymen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onstruction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Interest Rate</a:t>
                      </a:r>
                      <a:br>
                        <a:rPr lang="en-US" sz="600" u="none" strike="noStrike">
                          <a:effectLst/>
                        </a:rPr>
                      </a:br>
                      <a:r>
                        <a:rPr lang="en-US" sz="600" u="none" strike="noStrike">
                          <a:effectLst/>
                        </a:rPr>
                        <a:t>(20 years Thai Bond)</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umulated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earning </a:t>
                      </a:r>
                      <a:br>
                        <a:rPr lang="en-GB" sz="600" u="none" strike="noStrike">
                          <a:effectLst/>
                        </a:rPr>
                      </a:br>
                      <a:r>
                        <a:rPr lang="en-GB" sz="600" u="none" strike="noStrike">
                          <a:effectLst/>
                        </a:rPr>
                        <a:t>Before</a:t>
                      </a:r>
                      <a:br>
                        <a:rPr lang="en-GB" sz="600" u="none" strike="noStrike">
                          <a:effectLst/>
                        </a:rPr>
                      </a:br>
                      <a:r>
                        <a:rPr lang="en-GB" sz="600" u="none" strike="noStrike">
                          <a:effectLst/>
                        </a:rPr>
                        <a:t>Tax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Thailand CorpTax</a:t>
                      </a:r>
                      <a:br>
                        <a:rPr lang="en-GB" sz="600" u="none" strike="noStrike">
                          <a:effectLst/>
                        </a:rPr>
                      </a:br>
                      <a:r>
                        <a:rPr lang="en-GB" sz="600" u="none" strike="noStrike">
                          <a:effectLst/>
                        </a:rPr>
                        <a:t>(2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Net Profit </a:t>
                      </a:r>
                      <a:endParaRPr lang="en-GB" sz="600" b="1" i="0" u="none" strike="noStrike">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944591291"/>
                  </a:ext>
                </a:extLst>
              </a:tr>
              <a:tr h="97469">
                <a:tc>
                  <a:txBody>
                    <a:bodyPr/>
                    <a:lstStyle/>
                    <a:p>
                      <a:pPr algn="ctr" fontAlgn="b"/>
                      <a:r>
                        <a:rPr lang="en-GB" sz="600" u="none" strike="noStrike">
                          <a:effectLst/>
                        </a:rPr>
                        <a:t>Y202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70804180"/>
                  </a:ext>
                </a:extLst>
              </a:tr>
              <a:tr h="97469">
                <a:tc>
                  <a:txBody>
                    <a:bodyPr/>
                    <a:lstStyle/>
                    <a:p>
                      <a:pPr algn="ctr" fontAlgn="b"/>
                      <a:r>
                        <a:rPr lang="en-GB" sz="600" u="none" strike="noStrike">
                          <a:effectLst/>
                        </a:rPr>
                        <a:t>Y202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686762083"/>
                  </a:ext>
                </a:extLst>
              </a:tr>
              <a:tr h="97469">
                <a:tc>
                  <a:txBody>
                    <a:bodyPr/>
                    <a:lstStyle/>
                    <a:p>
                      <a:pPr algn="ctr" fontAlgn="b"/>
                      <a:r>
                        <a:rPr lang="en-GB" sz="600" u="none" strike="noStrike">
                          <a:effectLst/>
                        </a:rPr>
                        <a:t>Y202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01439329"/>
                  </a:ext>
                </a:extLst>
              </a:tr>
              <a:tr h="97469">
                <a:tc>
                  <a:txBody>
                    <a:bodyPr/>
                    <a:lstStyle/>
                    <a:p>
                      <a:pPr algn="ctr" fontAlgn="b"/>
                      <a:r>
                        <a:rPr lang="en-GB" sz="600" u="none" strike="noStrike">
                          <a:effectLst/>
                        </a:rPr>
                        <a:t>Y202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507146624"/>
                  </a:ext>
                </a:extLst>
              </a:tr>
              <a:tr h="97469">
                <a:tc>
                  <a:txBody>
                    <a:bodyPr/>
                    <a:lstStyle/>
                    <a:p>
                      <a:pPr algn="ctr" fontAlgn="b"/>
                      <a:r>
                        <a:rPr lang="en-GB" sz="600" u="none" strike="noStrike">
                          <a:effectLst/>
                        </a:rPr>
                        <a:t>Y202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220764989"/>
                  </a:ext>
                </a:extLst>
              </a:tr>
              <a:tr h="97469">
                <a:tc>
                  <a:txBody>
                    <a:bodyPr/>
                    <a:lstStyle/>
                    <a:p>
                      <a:pPr algn="ctr" fontAlgn="b"/>
                      <a:r>
                        <a:rPr lang="en-GB" sz="600" u="none" strike="noStrike">
                          <a:effectLst/>
                        </a:rPr>
                        <a:t>Y202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420823250"/>
                  </a:ext>
                </a:extLst>
              </a:tr>
              <a:tr h="97469">
                <a:tc>
                  <a:txBody>
                    <a:bodyPr/>
                    <a:lstStyle/>
                    <a:p>
                      <a:pPr algn="ctr" fontAlgn="b"/>
                      <a:r>
                        <a:rPr lang="en-GB" sz="600" u="none" strike="noStrike">
                          <a:effectLst/>
                        </a:rPr>
                        <a:t>Y202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187965889"/>
                  </a:ext>
                </a:extLst>
              </a:tr>
              <a:tr h="97469">
                <a:tc>
                  <a:txBody>
                    <a:bodyPr/>
                    <a:lstStyle/>
                    <a:p>
                      <a:pPr algn="ctr" fontAlgn="b"/>
                      <a:r>
                        <a:rPr lang="en-GB" sz="600" u="none" strike="noStrike">
                          <a:effectLst/>
                        </a:rPr>
                        <a:t>Y202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374050048"/>
                  </a:ext>
                </a:extLst>
              </a:tr>
              <a:tr h="97469">
                <a:tc>
                  <a:txBody>
                    <a:bodyPr/>
                    <a:lstStyle/>
                    <a:p>
                      <a:pPr algn="ctr" fontAlgn="b"/>
                      <a:r>
                        <a:rPr lang="en-GB" sz="600" u="none" strike="noStrike">
                          <a:effectLst/>
                        </a:rPr>
                        <a:t>Y202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538678696"/>
                  </a:ext>
                </a:extLst>
              </a:tr>
              <a:tr h="97469">
                <a:tc>
                  <a:txBody>
                    <a:bodyPr/>
                    <a:lstStyle/>
                    <a:p>
                      <a:pPr algn="ctr" fontAlgn="b"/>
                      <a:r>
                        <a:rPr lang="en-GB" sz="600" u="none" strike="noStrike">
                          <a:effectLst/>
                        </a:rPr>
                        <a:t>Y203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38065780"/>
                  </a:ext>
                </a:extLst>
              </a:tr>
              <a:tr h="97469">
                <a:tc>
                  <a:txBody>
                    <a:bodyPr/>
                    <a:lstStyle/>
                    <a:p>
                      <a:pPr algn="ctr" fontAlgn="b"/>
                      <a:r>
                        <a:rPr lang="en-GB" sz="600" u="none" strike="noStrike">
                          <a:effectLst/>
                        </a:rPr>
                        <a:t>Y203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749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6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5,8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93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46,5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9,3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536438886"/>
                  </a:ext>
                </a:extLst>
              </a:tr>
              <a:tr h="97469">
                <a:tc>
                  <a:txBody>
                    <a:bodyPr/>
                    <a:lstStyle/>
                    <a:p>
                      <a:pPr algn="ctr" fontAlgn="b"/>
                      <a:r>
                        <a:rPr lang="en-GB" sz="600" u="none" strike="noStrike">
                          <a:effectLst/>
                        </a:rPr>
                        <a:t>Y203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91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01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7,1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9,8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77,9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387753604"/>
                  </a:ext>
                </a:extLst>
              </a:tr>
              <a:tr h="97469">
                <a:tc>
                  <a:txBody>
                    <a:bodyPr/>
                    <a:lstStyle/>
                    <a:p>
                      <a:pPr algn="ctr" fontAlgn="b"/>
                      <a:r>
                        <a:rPr lang="en-GB" sz="600" u="none" strike="noStrike">
                          <a:effectLst/>
                        </a:rPr>
                        <a:t>Y203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076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43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1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32,7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6,5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32,0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74,1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4,82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899,29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18809772"/>
                  </a:ext>
                </a:extLst>
              </a:tr>
              <a:tr h="97469">
                <a:tc>
                  <a:txBody>
                    <a:bodyPr/>
                    <a:lstStyle/>
                    <a:p>
                      <a:pPr algn="ctr" fontAlgn="b"/>
                      <a:r>
                        <a:rPr lang="en-GB" sz="600" u="none" strike="noStrike">
                          <a:effectLst/>
                        </a:rPr>
                        <a:t>Y203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23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79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9,6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8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85,2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77,0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81,6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26,56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141911182"/>
                  </a:ext>
                </a:extLst>
              </a:tr>
              <a:tr h="97469">
                <a:tc>
                  <a:txBody>
                    <a:bodyPr/>
                    <a:lstStyle/>
                    <a:p>
                      <a:pPr algn="ctr" fontAlgn="b"/>
                      <a:r>
                        <a:rPr lang="en-GB" sz="600" u="none" strike="noStrike">
                          <a:effectLst/>
                        </a:rPr>
                        <a:t>Y203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40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09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0,9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5,4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47,3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29,4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3,5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094,32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81563002"/>
                  </a:ext>
                </a:extLst>
              </a:tr>
              <a:tr h="97469">
                <a:tc>
                  <a:txBody>
                    <a:bodyPr/>
                    <a:lstStyle/>
                    <a:p>
                      <a:pPr algn="ctr" fontAlgn="b"/>
                      <a:r>
                        <a:rPr lang="en-GB" sz="600" u="none" strike="noStrike">
                          <a:effectLst/>
                        </a:rPr>
                        <a:t>Y203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56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48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2,1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09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900,7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80,1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4,1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256,44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590780327"/>
                  </a:ext>
                </a:extLst>
              </a:tr>
              <a:tr h="97469">
                <a:tc>
                  <a:txBody>
                    <a:bodyPr/>
                    <a:lstStyle/>
                    <a:p>
                      <a:pPr algn="ctr" fontAlgn="b"/>
                      <a:r>
                        <a:rPr lang="en-GB" sz="600" u="none" strike="noStrike">
                          <a:effectLst/>
                        </a:rPr>
                        <a:t>Y203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72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90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3,3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6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153,4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30,6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4,5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18,22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00787437"/>
                  </a:ext>
                </a:extLst>
              </a:tr>
              <a:tr h="97469">
                <a:tc>
                  <a:txBody>
                    <a:bodyPr/>
                    <a:lstStyle/>
                    <a:p>
                      <a:pPr algn="ctr" fontAlgn="b"/>
                      <a:r>
                        <a:rPr lang="en-GB" sz="600" u="none" strike="noStrike">
                          <a:effectLst/>
                        </a:rPr>
                        <a:t>Y203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89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26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4,6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7,3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415,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3,1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6,5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586,19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326631170"/>
                  </a:ext>
                </a:extLst>
              </a:tr>
              <a:tr h="97469">
                <a:tc>
                  <a:txBody>
                    <a:bodyPr/>
                    <a:lstStyle/>
                    <a:p>
                      <a:pPr algn="ctr" fontAlgn="b"/>
                      <a:r>
                        <a:rPr lang="en-GB" sz="600" u="none" strike="noStrike">
                          <a:effectLst/>
                        </a:rPr>
                        <a:t>Y203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05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56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6,00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8,0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88,7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37,7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90,1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760,77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0180063"/>
                  </a:ext>
                </a:extLst>
              </a:tr>
              <a:tr h="97469">
                <a:tc>
                  <a:txBody>
                    <a:bodyPr/>
                    <a:lstStyle/>
                    <a:p>
                      <a:pPr algn="ctr" fontAlgn="b"/>
                      <a:r>
                        <a:rPr lang="en-GB" sz="600" u="none" strike="noStrike">
                          <a:effectLst/>
                        </a:rPr>
                        <a:t>Y204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21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95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7,2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8,6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951,79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90,3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61,4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61,4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32,2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929,15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015694048"/>
                  </a:ext>
                </a:extLst>
              </a:tr>
              <a:tr h="97469">
                <a:tc>
                  <a:txBody>
                    <a:bodyPr/>
                    <a:lstStyle/>
                    <a:p>
                      <a:pPr algn="ctr" fontAlgn="b"/>
                      <a:r>
                        <a:rPr lang="en-GB" sz="600" u="none" strike="noStrike">
                          <a:effectLst/>
                        </a:rPr>
                        <a:t>Y204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38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5,37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8,4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9,2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214,4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42,8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1,5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1,5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74,3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97,267.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31367492"/>
                  </a:ext>
                </a:extLst>
              </a:tr>
              <a:tr h="97469">
                <a:tc>
                  <a:txBody>
                    <a:bodyPr/>
                    <a:lstStyle/>
                    <a:p>
                      <a:pPr algn="ctr" fontAlgn="b"/>
                      <a:r>
                        <a:rPr lang="en-GB" sz="600" u="none" strike="noStrike">
                          <a:effectLst/>
                        </a:rPr>
                        <a:t>Y204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54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5,73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9,72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9,8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87,3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7,4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589,8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589,8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17,97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271,89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947218747"/>
                  </a:ext>
                </a:extLst>
              </a:tr>
              <a:tr h="97469">
                <a:tc>
                  <a:txBody>
                    <a:bodyPr/>
                    <a:lstStyle/>
                    <a:p>
                      <a:pPr algn="ctr" fontAlgn="b"/>
                      <a:r>
                        <a:rPr lang="en-GB" sz="600" u="none" strike="noStrike">
                          <a:effectLst/>
                        </a:rPr>
                        <a:t>Y204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70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03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1,0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0,5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770,2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54,0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16,2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16,2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63,2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452,99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773768756"/>
                  </a:ext>
                </a:extLst>
              </a:tr>
              <a:tr h="97469">
                <a:tc>
                  <a:txBody>
                    <a:bodyPr/>
                    <a:lstStyle/>
                    <a:p>
                      <a:pPr algn="ctr" fontAlgn="b"/>
                      <a:r>
                        <a:rPr lang="en-GB" sz="600" u="none" strike="noStrike">
                          <a:effectLst/>
                        </a:rPr>
                        <a:t>Y204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87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42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2,3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1,1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043,6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08,7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034,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034,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06,9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627,92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81110181"/>
                  </a:ext>
                </a:extLst>
              </a:tr>
              <a:tr h="97469">
                <a:tc>
                  <a:txBody>
                    <a:bodyPr/>
                    <a:lstStyle/>
                    <a:p>
                      <a:pPr algn="ctr" fontAlgn="b"/>
                      <a:r>
                        <a:rPr lang="en-GB" sz="600" u="none" strike="noStrike">
                          <a:effectLst/>
                        </a:rPr>
                        <a:t>Y204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03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84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3,5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1,7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316,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63,2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252,9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252,9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50,59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802,38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714264549"/>
                  </a:ext>
                </a:extLst>
              </a:tr>
              <a:tr h="97469">
                <a:tc>
                  <a:txBody>
                    <a:bodyPr/>
                    <a:lstStyle/>
                    <a:p>
                      <a:pPr algn="ctr" fontAlgn="b"/>
                      <a:r>
                        <a:rPr lang="en-GB" sz="600" u="none" strike="noStrike">
                          <a:effectLst/>
                        </a:rPr>
                        <a:t>Y204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20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20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4,7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2,39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599,2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19,8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479,4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479,4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95,8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83,52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114693110"/>
                  </a:ext>
                </a:extLst>
              </a:tr>
              <a:tr h="97469">
                <a:tc>
                  <a:txBody>
                    <a:bodyPr/>
                    <a:lstStyle/>
                    <a:p>
                      <a:pPr algn="ctr" fontAlgn="b"/>
                      <a:r>
                        <a:rPr lang="en-GB" sz="600" u="none" strike="noStrike">
                          <a:effectLst/>
                        </a:rPr>
                        <a:t>Y204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36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502.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6,1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3,0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955,69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91,1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764,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764,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52,9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211,64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512493569"/>
                  </a:ext>
                </a:extLst>
              </a:tr>
              <a:tr h="97469">
                <a:tc>
                  <a:txBody>
                    <a:bodyPr/>
                    <a:lstStyle/>
                    <a:p>
                      <a:pPr algn="ctr" fontAlgn="b"/>
                      <a:r>
                        <a:rPr lang="en-GB" sz="600" u="none" strike="noStrike">
                          <a:effectLst/>
                        </a:rPr>
                        <a:t>Y204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52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89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7,36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3,68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303,3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60,6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42,6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42,6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08,5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434,15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544013568"/>
                  </a:ext>
                </a:extLst>
              </a:tr>
              <a:tr h="97469">
                <a:tc>
                  <a:txBody>
                    <a:bodyPr/>
                    <a:lstStyle/>
                    <a:p>
                      <a:pPr algn="ctr" fontAlgn="b"/>
                      <a:r>
                        <a:rPr lang="en-GB" sz="600" u="none" strike="noStrike">
                          <a:effectLst/>
                        </a:rPr>
                        <a:t>Y204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69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8,3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8,58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4,2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651,36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330,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21,0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21,0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64,21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656,87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516396632"/>
                  </a:ext>
                </a:extLst>
              </a:tr>
              <a:tr h="97469">
                <a:tc>
                  <a:txBody>
                    <a:bodyPr/>
                    <a:lstStyle/>
                    <a:p>
                      <a:pPr algn="ctr" fontAlgn="b"/>
                      <a:r>
                        <a:rPr lang="en-GB" sz="600" u="none" strike="noStrike">
                          <a:effectLst/>
                        </a:rPr>
                        <a:t>Y205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85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8,67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9,8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4,9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7,011,1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402,2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08,90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08,90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21,7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87,127.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759005687"/>
                  </a:ext>
                </a:extLst>
              </a:tr>
              <a:tr h="97469">
                <a:tc>
                  <a:txBody>
                    <a:bodyPr/>
                    <a:lstStyle/>
                    <a:p>
                      <a:pPr algn="ctr" fontAlgn="b"/>
                      <a:r>
                        <a:rPr lang="en-GB" sz="600" u="none" strike="noStrike">
                          <a:effectLst/>
                        </a:rPr>
                        <a:t>Y205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01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8,972.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1,1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5,59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7,383,47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476,6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906,7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906,7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81,35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25,42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861247153"/>
                  </a:ext>
                </a:extLst>
              </a:tr>
              <a:tr h="97469">
                <a:tc>
                  <a:txBody>
                    <a:bodyPr/>
                    <a:lstStyle/>
                    <a:p>
                      <a:pPr algn="ctr" fontAlgn="b"/>
                      <a:r>
                        <a:rPr lang="en-GB" sz="600" u="none" strike="noStrike">
                          <a:effectLst/>
                        </a:rPr>
                        <a:t>Y205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18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9,36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2,4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6,2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7,746,1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549,2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196,92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196,92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39,38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57,54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74528656"/>
                  </a:ext>
                </a:extLst>
              </a:tr>
              <a:tr h="97469">
                <a:tc>
                  <a:txBody>
                    <a:bodyPr/>
                    <a:lstStyle/>
                    <a:p>
                      <a:pPr algn="ctr" fontAlgn="b"/>
                      <a:r>
                        <a:rPr lang="en-GB" sz="600" u="none" strike="noStrike">
                          <a:effectLst/>
                        </a:rPr>
                        <a:t>Y205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34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9,79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3,64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6,8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108,76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621,7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87,0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87,0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7,4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589,60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06823068"/>
                  </a:ext>
                </a:extLst>
              </a:tr>
              <a:tr h="97469">
                <a:tc>
                  <a:txBody>
                    <a:bodyPr/>
                    <a:lstStyle/>
                    <a:p>
                      <a:pPr algn="ctr" fontAlgn="b"/>
                      <a:r>
                        <a:rPr lang="en-GB" sz="600" u="none" strike="noStrike">
                          <a:effectLst/>
                        </a:rPr>
                        <a:t>Y205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50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0,14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4,91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7,4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484,0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696,8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787,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787,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57,4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29,78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319968978"/>
                  </a:ext>
                </a:extLst>
              </a:tr>
              <a:tr h="97469">
                <a:tc>
                  <a:txBody>
                    <a:bodyPr/>
                    <a:lstStyle/>
                    <a:p>
                      <a:pPr algn="ctr" fontAlgn="b"/>
                      <a:r>
                        <a:rPr lang="en-GB" sz="600" u="none" strike="noStrike">
                          <a:effectLst/>
                        </a:rPr>
                        <a:t>Y205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67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0,443.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6,2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8,12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871,7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774,3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097,3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097,3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19,4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077,90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094571235"/>
                  </a:ext>
                </a:extLst>
              </a:tr>
              <a:tr h="97469">
                <a:tc>
                  <a:txBody>
                    <a:bodyPr/>
                    <a:lstStyle/>
                    <a:p>
                      <a:pPr algn="ctr" fontAlgn="b"/>
                      <a:r>
                        <a:rPr lang="en-GB" sz="600" u="none" strike="noStrike">
                          <a:effectLst/>
                        </a:rPr>
                        <a:t>Y205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833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0,83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7,4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8,7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249,4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849,8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399,5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399,5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79,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19,64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942475868"/>
                  </a:ext>
                </a:extLst>
              </a:tr>
              <a:tr h="97469">
                <a:tc>
                  <a:txBody>
                    <a:bodyPr/>
                    <a:lstStyle/>
                    <a:p>
                      <a:pPr algn="ctr" fontAlgn="b"/>
                      <a:r>
                        <a:rPr lang="en-GB" sz="600" u="none" strike="noStrike">
                          <a:effectLst/>
                        </a:rPr>
                        <a:t>Y205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99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1,26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8,70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9,3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627,1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925,4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701,7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701,7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40,34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561,397.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69511680"/>
                  </a:ext>
                </a:extLst>
              </a:tr>
              <a:tr h="97469">
                <a:tc>
                  <a:txBody>
                    <a:bodyPr/>
                    <a:lstStyle/>
                    <a:p>
                      <a:pPr algn="ctr" fontAlgn="b"/>
                      <a:r>
                        <a:rPr lang="en-GB" sz="600" u="none" strike="noStrike">
                          <a:effectLst/>
                        </a:rPr>
                        <a:t>Y20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160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1,6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39,98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9,9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017,7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003,5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014,17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014,17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02,8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811,33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262569242"/>
                  </a:ext>
                </a:extLst>
              </a:tr>
              <a:tr h="97469">
                <a:tc>
                  <a:txBody>
                    <a:bodyPr/>
                    <a:lstStyle/>
                    <a:p>
                      <a:pPr algn="ctr" fontAlgn="b"/>
                      <a:r>
                        <a:rPr lang="en-GB" sz="600" u="none" strike="noStrike">
                          <a:effectLst/>
                        </a:rPr>
                        <a:t>Y205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323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1,913.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41,32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0,66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421,31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084,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337,0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337,0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67,41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69,64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640831177"/>
                  </a:ext>
                </a:extLst>
              </a:tr>
              <a:tr h="97469">
                <a:tc>
                  <a:txBody>
                    <a:bodyPr/>
                    <a:lstStyle/>
                    <a:p>
                      <a:pPr algn="ctr" fontAlgn="b"/>
                      <a:r>
                        <a:rPr lang="en-GB" sz="600" u="none" strike="noStrike">
                          <a:effectLst/>
                        </a:rPr>
                        <a:t>Y206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486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2,31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42,5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1,2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813,7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162,7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651,0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651,0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330,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20,80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179841007"/>
                  </a:ext>
                </a:extLst>
              </a:tr>
            </a:tbl>
          </a:graphicData>
        </a:graphic>
      </p:graphicFrame>
      <p:sp>
        <p:nvSpPr>
          <p:cNvPr id="8" name="TextBox 7">
            <a:extLst>
              <a:ext uri="{FF2B5EF4-FFF2-40B4-BE49-F238E27FC236}">
                <a16:creationId xmlns:a16="http://schemas.microsoft.com/office/drawing/2014/main" id="{ACEB79DF-3AAB-46EC-952C-7E091862C688}"/>
              </a:ext>
            </a:extLst>
          </p:cNvPr>
          <p:cNvSpPr txBox="1"/>
          <p:nvPr/>
        </p:nvSpPr>
        <p:spPr>
          <a:xfrm>
            <a:off x="0" y="6048537"/>
            <a:ext cx="12191980" cy="523220"/>
          </a:xfrm>
          <a:prstGeom prst="rect">
            <a:avLst/>
          </a:prstGeom>
          <a:solidFill>
            <a:schemeClr val="accent1">
              <a:lumMod val="50000"/>
            </a:schemeClr>
          </a:solidFill>
        </p:spPr>
        <p:txBody>
          <a:bodyPr wrap="square" lIns="91440" tIns="45720" rIns="91440" bIns="45720" rtlCol="0" anchor="t">
            <a:spAutoFit/>
          </a:bodyPr>
          <a:lstStyle/>
          <a:p>
            <a:r>
              <a:rPr lang="en-GB" sz="1400">
                <a:solidFill>
                  <a:schemeClr val="bg1"/>
                </a:solidFill>
                <a:ea typeface="+mn-lt"/>
                <a:cs typeface="+mn-lt"/>
              </a:rPr>
              <a:t>Suppose our prediction, that the ice will melt nearly 50% by 2050, will not happen so fast, the number of ships passing through the North Sea Route increases steadily. Under this scenario, the IRR is 1.6%, which is considered low.</a:t>
            </a:r>
            <a:endParaRPr lang="en-GB" sz="1400">
              <a:solidFill>
                <a:schemeClr val="bg1"/>
              </a:solidFill>
              <a:cs typeface="Calibri"/>
            </a:endParaRPr>
          </a:p>
        </p:txBody>
      </p:sp>
      <p:sp>
        <p:nvSpPr>
          <p:cNvPr id="7" name="Foliennummernplatzhalter 6">
            <a:extLst>
              <a:ext uri="{FF2B5EF4-FFF2-40B4-BE49-F238E27FC236}">
                <a16:creationId xmlns:a16="http://schemas.microsoft.com/office/drawing/2014/main" id="{C8DAF9BF-0026-4E9F-88D3-DCAE15742B6F}"/>
              </a:ext>
            </a:extLst>
          </p:cNvPr>
          <p:cNvSpPr>
            <a:spLocks noGrp="1"/>
          </p:cNvSpPr>
          <p:nvPr>
            <p:ph type="sldNum" sz="quarter" idx="12"/>
          </p:nvPr>
        </p:nvSpPr>
        <p:spPr/>
        <p:txBody>
          <a:bodyPr/>
          <a:lstStyle/>
          <a:p>
            <a:fld id="{4A0B9D2D-6490-410F-BAA1-A5DF4CF5DAF3}" type="slidenum">
              <a:rPr lang="en-GB" smtClean="0"/>
              <a:t>20</a:t>
            </a:fld>
            <a:endParaRPr lang="en-GB"/>
          </a:p>
        </p:txBody>
      </p:sp>
    </p:spTree>
    <p:extLst>
      <p:ext uri="{BB962C8B-B14F-4D97-AF65-F5344CB8AC3E}">
        <p14:creationId xmlns:p14="http://schemas.microsoft.com/office/powerpoint/2010/main" val="1471037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Graph on document with pen">
            <a:extLst>
              <a:ext uri="{FF2B5EF4-FFF2-40B4-BE49-F238E27FC236}">
                <a16:creationId xmlns:a16="http://schemas.microsoft.com/office/drawing/2014/main" id="{F5F4C416-7767-4B9A-96EC-4171A7121450}"/>
              </a:ext>
            </a:extLst>
          </p:cNvPr>
          <p:cNvPicPr>
            <a:picLocks noChangeAspect="1"/>
          </p:cNvPicPr>
          <p:nvPr/>
        </p:nvPicPr>
        <p:blipFill rotWithShape="1">
          <a:blip r:embed="rId2"/>
          <a:srcRect t="1415" b="14315"/>
          <a:stretch/>
        </p:blipFill>
        <p:spPr>
          <a:xfrm>
            <a:off x="20" y="10"/>
            <a:ext cx="12191980" cy="6857990"/>
          </a:xfrm>
          <a:prstGeom prst="rect">
            <a:avLst/>
          </a:prstGeom>
        </p:spPr>
      </p:pic>
      <p:sp>
        <p:nvSpPr>
          <p:cNvPr id="4" name="Rectangle 3">
            <a:extLst>
              <a:ext uri="{FF2B5EF4-FFF2-40B4-BE49-F238E27FC236}">
                <a16:creationId xmlns:a16="http://schemas.microsoft.com/office/drawing/2014/main" id="{3CF18923-1425-454C-99F8-A290419A9973}"/>
              </a:ext>
            </a:extLst>
          </p:cNvPr>
          <p:cNvSpPr/>
          <p:nvPr/>
        </p:nvSpPr>
        <p:spPr>
          <a:xfrm>
            <a:off x="0" y="1536970"/>
            <a:ext cx="9873554" cy="44747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E040AD5-0D68-4621-AB86-12A9EDCCF60D}"/>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r>
              <a:rPr lang="de-DE">
                <a:solidFill>
                  <a:prstClr val="white"/>
                </a:solidFill>
              </a:rPr>
              <a:t>Financial Model</a:t>
            </a:r>
          </a:p>
          <a:p>
            <a:pPr algn="ctr" defTabSz="914194"/>
            <a:r>
              <a:rPr lang="de-DE">
                <a:solidFill>
                  <a:prstClr val="white"/>
                </a:solidFill>
              </a:rPr>
              <a:t>Normal </a:t>
            </a:r>
            <a:r>
              <a:rPr lang="en-AU">
                <a:solidFill>
                  <a:prstClr val="white"/>
                </a:solidFill>
              </a:rPr>
              <a:t>Prediction</a:t>
            </a:r>
          </a:p>
        </p:txBody>
      </p:sp>
      <p:graphicFrame>
        <p:nvGraphicFramePr>
          <p:cNvPr id="2" name="Table 1">
            <a:extLst>
              <a:ext uri="{FF2B5EF4-FFF2-40B4-BE49-F238E27FC236}">
                <a16:creationId xmlns:a16="http://schemas.microsoft.com/office/drawing/2014/main" id="{BDEDC1FB-A621-4538-8703-BC7FAD8FD25C}"/>
              </a:ext>
            </a:extLst>
          </p:cNvPr>
          <p:cNvGraphicFramePr>
            <a:graphicFrameLocks noGrp="1"/>
          </p:cNvGraphicFramePr>
          <p:nvPr>
            <p:extLst>
              <p:ext uri="{D42A27DB-BD31-4B8C-83A1-F6EECF244321}">
                <p14:modId xmlns:p14="http://schemas.microsoft.com/office/powerpoint/2010/main" val="1254737279"/>
              </p:ext>
            </p:extLst>
          </p:nvPr>
        </p:nvGraphicFramePr>
        <p:xfrm>
          <a:off x="0" y="1355712"/>
          <a:ext cx="9873556" cy="4411727"/>
        </p:xfrm>
        <a:graphic>
          <a:graphicData uri="http://schemas.openxmlformats.org/drawingml/2006/table">
            <a:tbl>
              <a:tblPr>
                <a:tableStyleId>{5C22544A-7EE6-4342-B048-85BDC9FD1C3A}</a:tableStyleId>
              </a:tblPr>
              <a:tblGrid>
                <a:gridCol w="382288">
                  <a:extLst>
                    <a:ext uri="{9D8B030D-6E8A-4147-A177-3AD203B41FA5}">
                      <a16:colId xmlns:a16="http://schemas.microsoft.com/office/drawing/2014/main" val="1098081758"/>
                    </a:ext>
                  </a:extLst>
                </a:gridCol>
                <a:gridCol w="540475">
                  <a:extLst>
                    <a:ext uri="{9D8B030D-6E8A-4147-A177-3AD203B41FA5}">
                      <a16:colId xmlns:a16="http://schemas.microsoft.com/office/drawing/2014/main" val="2851398057"/>
                    </a:ext>
                  </a:extLst>
                </a:gridCol>
                <a:gridCol w="659116">
                  <a:extLst>
                    <a:ext uri="{9D8B030D-6E8A-4147-A177-3AD203B41FA5}">
                      <a16:colId xmlns:a16="http://schemas.microsoft.com/office/drawing/2014/main" val="3839645958"/>
                    </a:ext>
                  </a:extLst>
                </a:gridCol>
                <a:gridCol w="626160">
                  <a:extLst>
                    <a:ext uri="{9D8B030D-6E8A-4147-A177-3AD203B41FA5}">
                      <a16:colId xmlns:a16="http://schemas.microsoft.com/office/drawing/2014/main" val="3888393285"/>
                    </a:ext>
                  </a:extLst>
                </a:gridCol>
                <a:gridCol w="626160">
                  <a:extLst>
                    <a:ext uri="{9D8B030D-6E8A-4147-A177-3AD203B41FA5}">
                      <a16:colId xmlns:a16="http://schemas.microsoft.com/office/drawing/2014/main" val="2914857179"/>
                    </a:ext>
                  </a:extLst>
                </a:gridCol>
                <a:gridCol w="500928">
                  <a:extLst>
                    <a:ext uri="{9D8B030D-6E8A-4147-A177-3AD203B41FA5}">
                      <a16:colId xmlns:a16="http://schemas.microsoft.com/office/drawing/2014/main" val="2171130154"/>
                    </a:ext>
                  </a:extLst>
                </a:gridCol>
                <a:gridCol w="665707">
                  <a:extLst>
                    <a:ext uri="{9D8B030D-6E8A-4147-A177-3AD203B41FA5}">
                      <a16:colId xmlns:a16="http://schemas.microsoft.com/office/drawing/2014/main" val="3204373441"/>
                    </a:ext>
                  </a:extLst>
                </a:gridCol>
                <a:gridCol w="619569">
                  <a:extLst>
                    <a:ext uri="{9D8B030D-6E8A-4147-A177-3AD203B41FA5}">
                      <a16:colId xmlns:a16="http://schemas.microsoft.com/office/drawing/2014/main" val="2389327891"/>
                    </a:ext>
                  </a:extLst>
                </a:gridCol>
                <a:gridCol w="665707">
                  <a:extLst>
                    <a:ext uri="{9D8B030D-6E8A-4147-A177-3AD203B41FA5}">
                      <a16:colId xmlns:a16="http://schemas.microsoft.com/office/drawing/2014/main" val="1551032048"/>
                    </a:ext>
                  </a:extLst>
                </a:gridCol>
                <a:gridCol w="619569">
                  <a:extLst>
                    <a:ext uri="{9D8B030D-6E8A-4147-A177-3AD203B41FA5}">
                      <a16:colId xmlns:a16="http://schemas.microsoft.com/office/drawing/2014/main" val="2190912440"/>
                    </a:ext>
                  </a:extLst>
                </a:gridCol>
                <a:gridCol w="659116">
                  <a:extLst>
                    <a:ext uri="{9D8B030D-6E8A-4147-A177-3AD203B41FA5}">
                      <a16:colId xmlns:a16="http://schemas.microsoft.com/office/drawing/2014/main" val="616715115"/>
                    </a:ext>
                  </a:extLst>
                </a:gridCol>
                <a:gridCol w="659116">
                  <a:extLst>
                    <a:ext uri="{9D8B030D-6E8A-4147-A177-3AD203B41FA5}">
                      <a16:colId xmlns:a16="http://schemas.microsoft.com/office/drawing/2014/main" val="1236165908"/>
                    </a:ext>
                  </a:extLst>
                </a:gridCol>
                <a:gridCol w="665707">
                  <a:extLst>
                    <a:ext uri="{9D8B030D-6E8A-4147-A177-3AD203B41FA5}">
                      <a16:colId xmlns:a16="http://schemas.microsoft.com/office/drawing/2014/main" val="3777975925"/>
                    </a:ext>
                  </a:extLst>
                </a:gridCol>
                <a:gridCol w="665707">
                  <a:extLst>
                    <a:ext uri="{9D8B030D-6E8A-4147-A177-3AD203B41FA5}">
                      <a16:colId xmlns:a16="http://schemas.microsoft.com/office/drawing/2014/main" val="1997096044"/>
                    </a:ext>
                  </a:extLst>
                </a:gridCol>
                <a:gridCol w="619569">
                  <a:extLst>
                    <a:ext uri="{9D8B030D-6E8A-4147-A177-3AD203B41FA5}">
                      <a16:colId xmlns:a16="http://schemas.microsoft.com/office/drawing/2014/main" val="3052706639"/>
                    </a:ext>
                  </a:extLst>
                </a:gridCol>
                <a:gridCol w="698662">
                  <a:extLst>
                    <a:ext uri="{9D8B030D-6E8A-4147-A177-3AD203B41FA5}">
                      <a16:colId xmlns:a16="http://schemas.microsoft.com/office/drawing/2014/main" val="3174481181"/>
                    </a:ext>
                  </a:extLst>
                </a:gridCol>
              </a:tblGrid>
              <a:tr h="754127">
                <a:tc>
                  <a:txBody>
                    <a:bodyPr/>
                    <a:lstStyle/>
                    <a:p>
                      <a:pPr algn="ctr" fontAlgn="ctr"/>
                      <a:r>
                        <a:rPr lang="en-US" sz="600" u="none" strike="noStrike">
                          <a:effectLst/>
                        </a:rPr>
                        <a:t>Internal Rate Of Return: 1.0%</a:t>
                      </a:r>
                      <a:endParaRPr lang="en-US" sz="600" b="1" i="0" u="none" strike="noStrike">
                        <a:solidFill>
                          <a:srgbClr val="C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tal Nr. Of  </a:t>
                      </a:r>
                      <a:br>
                        <a:rPr lang="en-US" sz="600" u="none" strike="noStrike">
                          <a:effectLst/>
                        </a:rPr>
                      </a:br>
                      <a:r>
                        <a:rPr lang="en-US" sz="600" u="none" strike="noStrike">
                          <a:effectLst/>
                        </a:rPr>
                        <a:t>Vessels between </a:t>
                      </a:r>
                      <a:br>
                        <a:rPr lang="en-US" sz="600" u="none" strike="noStrike">
                          <a:effectLst/>
                        </a:rPr>
                      </a:br>
                      <a:r>
                        <a:rPr lang="en-US" sz="600" u="none" strike="noStrike">
                          <a:effectLst/>
                        </a:rPr>
                        <a:t>Europe and Asia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Vessels transit through North Sea Route</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Malacca and </a:t>
                      </a:r>
                      <a:br>
                        <a:rPr lang="en-US" sz="600" u="none" strike="noStrike">
                          <a:effectLst/>
                        </a:rPr>
                      </a:br>
                      <a:r>
                        <a:rPr lang="en-US" sz="600" u="none" strike="noStrike">
                          <a:effectLst/>
                        </a:rPr>
                        <a:t>Thai Canal</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Predicted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Thai Canal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ll Charges </a:t>
                      </a:r>
                      <a:br>
                        <a:rPr lang="en-US" sz="600" u="none" strike="noStrike">
                          <a:effectLst/>
                        </a:rPr>
                      </a:br>
                      <a:r>
                        <a:rPr lang="en-US" sz="600" u="none" strike="noStrike">
                          <a:effectLst/>
                        </a:rPr>
                        <a:t>per vessel</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Revnue</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Operation Cost </a:t>
                      </a:r>
                      <a:br>
                        <a:rPr lang="en-US" sz="600" u="none" strike="noStrike">
                          <a:effectLst/>
                        </a:rPr>
                      </a:br>
                      <a:r>
                        <a:rPr lang="en-US" sz="600" u="none" strike="noStrike">
                          <a:effectLst/>
                        </a:rPr>
                        <a:t>20% of Revenue</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BI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Debt Repaymen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onstruction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Interest Rate</a:t>
                      </a:r>
                      <a:br>
                        <a:rPr lang="en-US" sz="600" u="none" strike="noStrike">
                          <a:effectLst/>
                        </a:rPr>
                      </a:br>
                      <a:r>
                        <a:rPr lang="en-US" sz="600" u="none" strike="noStrike">
                          <a:effectLst/>
                        </a:rPr>
                        <a:t>(20 years Thai Bond)</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umulated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earning </a:t>
                      </a:r>
                      <a:br>
                        <a:rPr lang="en-GB" sz="600" u="none" strike="noStrike">
                          <a:effectLst/>
                        </a:rPr>
                      </a:br>
                      <a:r>
                        <a:rPr lang="en-GB" sz="600" u="none" strike="noStrike">
                          <a:effectLst/>
                        </a:rPr>
                        <a:t>Before</a:t>
                      </a:r>
                      <a:br>
                        <a:rPr lang="en-GB" sz="600" u="none" strike="noStrike">
                          <a:effectLst/>
                        </a:rPr>
                      </a:br>
                      <a:r>
                        <a:rPr lang="en-GB" sz="600" u="none" strike="noStrike">
                          <a:effectLst/>
                        </a:rPr>
                        <a:t>Tax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Thailand CorpTax</a:t>
                      </a:r>
                      <a:br>
                        <a:rPr lang="en-GB" sz="600" u="none" strike="noStrike">
                          <a:effectLst/>
                        </a:rPr>
                      </a:br>
                      <a:r>
                        <a:rPr lang="en-GB" sz="600" u="none" strike="noStrike">
                          <a:effectLst/>
                        </a:rPr>
                        <a:t>(2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Net Profit </a:t>
                      </a:r>
                      <a:endParaRPr lang="en-GB" sz="600" b="1" i="0" u="none" strike="noStrike">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4240449627"/>
                  </a:ext>
                </a:extLst>
              </a:tr>
              <a:tr h="91311">
                <a:tc>
                  <a:txBody>
                    <a:bodyPr/>
                    <a:lstStyle/>
                    <a:p>
                      <a:pPr algn="ctr" fontAlgn="b"/>
                      <a:r>
                        <a:rPr lang="en-GB" sz="600" u="none" strike="noStrike">
                          <a:effectLst/>
                        </a:rPr>
                        <a:t>Y202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960068883"/>
                  </a:ext>
                </a:extLst>
              </a:tr>
              <a:tr h="91311">
                <a:tc>
                  <a:txBody>
                    <a:bodyPr/>
                    <a:lstStyle/>
                    <a:p>
                      <a:pPr algn="ctr" fontAlgn="b"/>
                      <a:r>
                        <a:rPr lang="en-GB" sz="600" u="none" strike="noStrike">
                          <a:effectLst/>
                        </a:rPr>
                        <a:t>Y202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61899879"/>
                  </a:ext>
                </a:extLst>
              </a:tr>
              <a:tr h="91311">
                <a:tc>
                  <a:txBody>
                    <a:bodyPr/>
                    <a:lstStyle/>
                    <a:p>
                      <a:pPr algn="ctr" fontAlgn="b"/>
                      <a:r>
                        <a:rPr lang="en-GB" sz="600" u="none" strike="noStrike">
                          <a:effectLst/>
                        </a:rPr>
                        <a:t>Y202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772331586"/>
                  </a:ext>
                </a:extLst>
              </a:tr>
              <a:tr h="91311">
                <a:tc>
                  <a:txBody>
                    <a:bodyPr/>
                    <a:lstStyle/>
                    <a:p>
                      <a:pPr algn="ctr" fontAlgn="b"/>
                      <a:r>
                        <a:rPr lang="en-GB" sz="600" u="none" strike="noStrike">
                          <a:effectLst/>
                        </a:rPr>
                        <a:t>Y202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027339905"/>
                  </a:ext>
                </a:extLst>
              </a:tr>
              <a:tr h="91311">
                <a:tc>
                  <a:txBody>
                    <a:bodyPr/>
                    <a:lstStyle/>
                    <a:p>
                      <a:pPr algn="ctr" fontAlgn="b"/>
                      <a:r>
                        <a:rPr lang="en-GB" sz="600" u="none" strike="noStrike">
                          <a:effectLst/>
                        </a:rPr>
                        <a:t>Y202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39480808"/>
                  </a:ext>
                </a:extLst>
              </a:tr>
              <a:tr h="91311">
                <a:tc>
                  <a:txBody>
                    <a:bodyPr/>
                    <a:lstStyle/>
                    <a:p>
                      <a:pPr algn="ctr" fontAlgn="b"/>
                      <a:r>
                        <a:rPr lang="en-GB" sz="600" u="none" strike="noStrike">
                          <a:effectLst/>
                        </a:rPr>
                        <a:t>Y202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140668259"/>
                  </a:ext>
                </a:extLst>
              </a:tr>
              <a:tr h="91311">
                <a:tc>
                  <a:txBody>
                    <a:bodyPr/>
                    <a:lstStyle/>
                    <a:p>
                      <a:pPr algn="ctr" fontAlgn="b"/>
                      <a:r>
                        <a:rPr lang="en-GB" sz="600" u="none" strike="noStrike">
                          <a:effectLst/>
                        </a:rPr>
                        <a:t>Y202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885640569"/>
                  </a:ext>
                </a:extLst>
              </a:tr>
              <a:tr h="91311">
                <a:tc>
                  <a:txBody>
                    <a:bodyPr/>
                    <a:lstStyle/>
                    <a:p>
                      <a:pPr algn="ctr" fontAlgn="b"/>
                      <a:r>
                        <a:rPr lang="en-GB" sz="600" u="none" strike="noStrike">
                          <a:effectLst/>
                        </a:rPr>
                        <a:t>Y202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216772042"/>
                  </a:ext>
                </a:extLst>
              </a:tr>
              <a:tr h="91311">
                <a:tc>
                  <a:txBody>
                    <a:bodyPr/>
                    <a:lstStyle/>
                    <a:p>
                      <a:pPr algn="ctr" fontAlgn="b"/>
                      <a:r>
                        <a:rPr lang="en-GB" sz="600" u="none" strike="noStrike">
                          <a:effectLst/>
                        </a:rPr>
                        <a:t>Y202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414873889"/>
                  </a:ext>
                </a:extLst>
              </a:tr>
              <a:tr h="91311">
                <a:tc>
                  <a:txBody>
                    <a:bodyPr/>
                    <a:lstStyle/>
                    <a:p>
                      <a:pPr algn="ctr" fontAlgn="b"/>
                      <a:r>
                        <a:rPr lang="en-GB" sz="600" u="none" strike="noStrike">
                          <a:effectLst/>
                        </a:rPr>
                        <a:t>Y203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75490480"/>
                  </a:ext>
                </a:extLst>
              </a:tr>
              <a:tr h="91311">
                <a:tc>
                  <a:txBody>
                    <a:bodyPr/>
                    <a:lstStyle/>
                    <a:p>
                      <a:pPr algn="ctr" fontAlgn="b"/>
                      <a:r>
                        <a:rPr lang="en-GB" sz="600" u="none" strike="noStrike">
                          <a:effectLst/>
                        </a:rPr>
                        <a:t>Y203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749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6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5,8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93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46,5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9,3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835096315"/>
                  </a:ext>
                </a:extLst>
              </a:tr>
              <a:tr h="91311">
                <a:tc>
                  <a:txBody>
                    <a:bodyPr/>
                    <a:lstStyle/>
                    <a:p>
                      <a:pPr algn="ctr" fontAlgn="b"/>
                      <a:r>
                        <a:rPr lang="en-GB" sz="600" u="none" strike="noStrike">
                          <a:effectLst/>
                        </a:rPr>
                        <a:t>Y203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91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01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7,1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9,8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77,9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56143817"/>
                  </a:ext>
                </a:extLst>
              </a:tr>
              <a:tr h="91311">
                <a:tc>
                  <a:txBody>
                    <a:bodyPr/>
                    <a:lstStyle/>
                    <a:p>
                      <a:pPr algn="ctr" fontAlgn="b"/>
                      <a:r>
                        <a:rPr lang="en-GB" sz="600" u="none" strike="noStrike">
                          <a:effectLst/>
                        </a:rPr>
                        <a:t>Y203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076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43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1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32,7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6,5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32,0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74,1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4,82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899,29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423412406"/>
                  </a:ext>
                </a:extLst>
              </a:tr>
              <a:tr h="91311">
                <a:tc>
                  <a:txBody>
                    <a:bodyPr/>
                    <a:lstStyle/>
                    <a:p>
                      <a:pPr algn="ctr" fontAlgn="b"/>
                      <a:r>
                        <a:rPr lang="en-GB" sz="600" u="none" strike="noStrike">
                          <a:effectLst/>
                        </a:rPr>
                        <a:t>Y203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23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79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9,6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8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85,2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77,0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81,6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26,56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814629235"/>
                  </a:ext>
                </a:extLst>
              </a:tr>
              <a:tr h="91311">
                <a:tc>
                  <a:txBody>
                    <a:bodyPr/>
                    <a:lstStyle/>
                    <a:p>
                      <a:pPr algn="ctr" fontAlgn="b"/>
                      <a:r>
                        <a:rPr lang="en-GB" sz="600" u="none" strike="noStrike">
                          <a:effectLst/>
                        </a:rPr>
                        <a:t>Y203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40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09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0,9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5,4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47,3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29,4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3,5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094,32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018188593"/>
                  </a:ext>
                </a:extLst>
              </a:tr>
              <a:tr h="91311">
                <a:tc>
                  <a:txBody>
                    <a:bodyPr/>
                    <a:lstStyle/>
                    <a:p>
                      <a:pPr algn="ctr" fontAlgn="b"/>
                      <a:r>
                        <a:rPr lang="en-GB" sz="600" u="none" strike="noStrike">
                          <a:effectLst/>
                        </a:rPr>
                        <a:t>Y203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56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48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2,1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09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900,7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80,1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4,1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256,44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837078182"/>
                  </a:ext>
                </a:extLst>
              </a:tr>
              <a:tr h="91311">
                <a:tc>
                  <a:txBody>
                    <a:bodyPr/>
                    <a:lstStyle/>
                    <a:p>
                      <a:pPr algn="ctr" fontAlgn="b"/>
                      <a:r>
                        <a:rPr lang="en-GB" sz="600" u="none" strike="noStrike">
                          <a:effectLst/>
                        </a:rPr>
                        <a:t>Y203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72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90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3,3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6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153,4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30,6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4,5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18,22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987462383"/>
                  </a:ext>
                </a:extLst>
              </a:tr>
              <a:tr h="91311">
                <a:tc>
                  <a:txBody>
                    <a:bodyPr/>
                    <a:lstStyle/>
                    <a:p>
                      <a:pPr algn="ctr" fontAlgn="b"/>
                      <a:r>
                        <a:rPr lang="en-GB" sz="600" u="none" strike="noStrike">
                          <a:effectLst/>
                        </a:rPr>
                        <a:t>Y203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89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26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4,6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7,3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415,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3,1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6,5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586,19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99858150"/>
                  </a:ext>
                </a:extLst>
              </a:tr>
              <a:tr h="91311">
                <a:tc>
                  <a:txBody>
                    <a:bodyPr/>
                    <a:lstStyle/>
                    <a:p>
                      <a:pPr algn="ctr" fontAlgn="b"/>
                      <a:r>
                        <a:rPr lang="en-GB" sz="600" u="none" strike="noStrike">
                          <a:effectLst/>
                        </a:rPr>
                        <a:t>Y203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05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56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6,00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8,0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88,7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37,7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90,1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760,77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158914638"/>
                  </a:ext>
                </a:extLst>
              </a:tr>
              <a:tr h="91311">
                <a:tc>
                  <a:txBody>
                    <a:bodyPr/>
                    <a:lstStyle/>
                    <a:p>
                      <a:pPr algn="ctr" fontAlgn="b"/>
                      <a:r>
                        <a:rPr lang="en-GB" sz="600" u="none" strike="noStrike">
                          <a:effectLst/>
                        </a:rPr>
                        <a:t>Y204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21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95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7,2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8,6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951,79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90,3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61,4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61,4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32,2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929,15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442281051"/>
                  </a:ext>
                </a:extLst>
              </a:tr>
              <a:tr h="91311">
                <a:tc>
                  <a:txBody>
                    <a:bodyPr/>
                    <a:lstStyle/>
                    <a:p>
                      <a:pPr algn="ctr" fontAlgn="b"/>
                      <a:r>
                        <a:rPr lang="en-GB" sz="600" u="none" strike="noStrike">
                          <a:effectLst/>
                        </a:rPr>
                        <a:t>Y204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38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5,37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8,4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9,2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214,4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42,8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1,5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1,5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74,3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97,267.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802758299"/>
                  </a:ext>
                </a:extLst>
              </a:tr>
              <a:tr h="91311">
                <a:tc>
                  <a:txBody>
                    <a:bodyPr/>
                    <a:lstStyle/>
                    <a:p>
                      <a:pPr algn="ctr" fontAlgn="b"/>
                      <a:r>
                        <a:rPr lang="en-GB" sz="600" u="none" strike="noStrike">
                          <a:effectLst/>
                        </a:rPr>
                        <a:t>Y204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54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5,73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9,72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9,8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87,3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7,4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589,8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589,8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17,97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271,89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056944629"/>
                  </a:ext>
                </a:extLst>
              </a:tr>
              <a:tr h="91311">
                <a:tc>
                  <a:txBody>
                    <a:bodyPr/>
                    <a:lstStyle/>
                    <a:p>
                      <a:pPr algn="ctr" fontAlgn="b"/>
                      <a:r>
                        <a:rPr lang="en-GB" sz="600" u="none" strike="noStrike">
                          <a:effectLst/>
                        </a:rPr>
                        <a:t>Y204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70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03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1,0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0,5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770,2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54,0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16,2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16,2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63,2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452,99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90387662"/>
                  </a:ext>
                </a:extLst>
              </a:tr>
              <a:tr h="91311">
                <a:tc>
                  <a:txBody>
                    <a:bodyPr/>
                    <a:lstStyle/>
                    <a:p>
                      <a:pPr algn="ctr" fontAlgn="b"/>
                      <a:r>
                        <a:rPr lang="en-GB" sz="600" u="none" strike="noStrike">
                          <a:effectLst/>
                        </a:rPr>
                        <a:t>Y204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87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42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2,3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1,1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043,6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08,7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034,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034,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06,9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627,92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770096495"/>
                  </a:ext>
                </a:extLst>
              </a:tr>
              <a:tr h="91311">
                <a:tc>
                  <a:txBody>
                    <a:bodyPr/>
                    <a:lstStyle/>
                    <a:p>
                      <a:pPr algn="ctr" fontAlgn="b"/>
                      <a:r>
                        <a:rPr lang="en-GB" sz="600" u="none" strike="noStrike">
                          <a:effectLst/>
                        </a:rPr>
                        <a:t>Y204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03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84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3,5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1,7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316,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63,2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252,9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252,9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50,59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802,38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977186360"/>
                  </a:ext>
                </a:extLst>
              </a:tr>
              <a:tr h="91311">
                <a:tc>
                  <a:txBody>
                    <a:bodyPr/>
                    <a:lstStyle/>
                    <a:p>
                      <a:pPr algn="ctr" fontAlgn="b"/>
                      <a:r>
                        <a:rPr lang="en-GB" sz="600" u="none" strike="noStrike">
                          <a:effectLst/>
                        </a:rPr>
                        <a:t>Y204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20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20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4,7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2,39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599,2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19,8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479,4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479,4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95,8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83,52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903206395"/>
                  </a:ext>
                </a:extLst>
              </a:tr>
              <a:tr h="91311">
                <a:tc>
                  <a:txBody>
                    <a:bodyPr/>
                    <a:lstStyle/>
                    <a:p>
                      <a:pPr algn="ctr" fontAlgn="b"/>
                      <a:r>
                        <a:rPr lang="en-GB" sz="600" u="none" strike="noStrike">
                          <a:effectLst/>
                        </a:rPr>
                        <a:t>Y204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36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502.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6,1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3,0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955,69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91,1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764,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764,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52,9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211,64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21281796"/>
                  </a:ext>
                </a:extLst>
              </a:tr>
              <a:tr h="91311">
                <a:tc>
                  <a:txBody>
                    <a:bodyPr/>
                    <a:lstStyle/>
                    <a:p>
                      <a:pPr algn="ctr" fontAlgn="b"/>
                      <a:r>
                        <a:rPr lang="en-GB" sz="600" u="none" strike="noStrike">
                          <a:effectLst/>
                        </a:rPr>
                        <a:t>Y204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52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89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7,36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3,68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303,3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60,6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42,6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42,6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08,5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434,15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112161945"/>
                  </a:ext>
                </a:extLst>
              </a:tr>
              <a:tr h="91311">
                <a:tc>
                  <a:txBody>
                    <a:bodyPr/>
                    <a:lstStyle/>
                    <a:p>
                      <a:pPr algn="ctr" fontAlgn="b"/>
                      <a:r>
                        <a:rPr lang="en-GB" sz="600" u="none" strike="noStrike">
                          <a:effectLst/>
                        </a:rPr>
                        <a:t>Y204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69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8,3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28,58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4,2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651,36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330,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21,0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21,0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64,21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656,87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06131065"/>
                  </a:ext>
                </a:extLst>
              </a:tr>
              <a:tr h="91311">
                <a:tc>
                  <a:txBody>
                    <a:bodyPr/>
                    <a:lstStyle/>
                    <a:p>
                      <a:pPr algn="ctr" fontAlgn="b"/>
                      <a:r>
                        <a:rPr lang="en-GB" sz="600" u="none" strike="noStrike">
                          <a:effectLst/>
                        </a:rPr>
                        <a:t>Y205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85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1,56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96,9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48,4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703,5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40,71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62,8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62,8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32,5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130,30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47775122"/>
                  </a:ext>
                </a:extLst>
              </a:tr>
              <a:tr h="91311">
                <a:tc>
                  <a:txBody>
                    <a:bodyPr/>
                    <a:lstStyle/>
                    <a:p>
                      <a:pPr algn="ctr" fontAlgn="b"/>
                      <a:r>
                        <a:rPr lang="en-GB" sz="600" u="none" strike="noStrike">
                          <a:effectLst/>
                        </a:rPr>
                        <a:t>Y205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01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2,05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98,1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49,0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000,63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00,1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400,5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400,5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80,1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320,40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839241062"/>
                  </a:ext>
                </a:extLst>
              </a:tr>
              <a:tr h="91311">
                <a:tc>
                  <a:txBody>
                    <a:bodyPr/>
                    <a:lstStyle/>
                    <a:p>
                      <a:pPr algn="ctr" fontAlgn="b"/>
                      <a:r>
                        <a:rPr lang="en-GB" sz="600" u="none" strike="noStrike">
                          <a:effectLst/>
                        </a:rPr>
                        <a:t>Y205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18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2,54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99,26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49,6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301,1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60,2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640,8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640,8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28,1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512,70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455093377"/>
                  </a:ext>
                </a:extLst>
              </a:tr>
              <a:tr h="91311">
                <a:tc>
                  <a:txBody>
                    <a:bodyPr/>
                    <a:lstStyle/>
                    <a:p>
                      <a:pPr algn="ctr" fontAlgn="b"/>
                      <a:r>
                        <a:rPr lang="en-GB" sz="600" u="none" strike="noStrike">
                          <a:effectLst/>
                        </a:rPr>
                        <a:t>Y205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34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3,03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0,4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0,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04,7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20,9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83,7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83,7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6,7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707,035.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740347432"/>
                  </a:ext>
                </a:extLst>
              </a:tr>
              <a:tr h="91311">
                <a:tc>
                  <a:txBody>
                    <a:bodyPr/>
                    <a:lstStyle/>
                    <a:p>
                      <a:pPr algn="ctr" fontAlgn="b"/>
                      <a:r>
                        <a:rPr lang="en-GB" sz="600" u="none" strike="noStrike">
                          <a:effectLst/>
                        </a:rPr>
                        <a:t>Y205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50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3,52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1,5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0,7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912,0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82,41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29,66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129,66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25,9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903,72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96852513"/>
                  </a:ext>
                </a:extLst>
              </a:tr>
              <a:tr h="91311">
                <a:tc>
                  <a:txBody>
                    <a:bodyPr/>
                    <a:lstStyle/>
                    <a:p>
                      <a:pPr algn="ctr" fontAlgn="b"/>
                      <a:r>
                        <a:rPr lang="en-GB" sz="600" u="none" strike="noStrike">
                          <a:effectLst/>
                        </a:rPr>
                        <a:t>Y205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67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4,01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2,6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1,3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222,8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44,5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8,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78,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75,65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102,61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267770850"/>
                  </a:ext>
                </a:extLst>
              </a:tr>
              <a:tr h="91311">
                <a:tc>
                  <a:txBody>
                    <a:bodyPr/>
                    <a:lstStyle/>
                    <a:p>
                      <a:pPr algn="ctr" fontAlgn="b"/>
                      <a:r>
                        <a:rPr lang="en-GB" sz="600" u="none" strike="noStrike">
                          <a:effectLst/>
                        </a:rPr>
                        <a:t>Y205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833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4,50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3,8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1,9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536,7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07,3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29,4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29,4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5,8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03,52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43891948"/>
                  </a:ext>
                </a:extLst>
              </a:tr>
              <a:tr h="91311">
                <a:tc>
                  <a:txBody>
                    <a:bodyPr/>
                    <a:lstStyle/>
                    <a:p>
                      <a:pPr algn="ctr" fontAlgn="b"/>
                      <a:r>
                        <a:rPr lang="en-GB" sz="600" u="none" strike="noStrike">
                          <a:effectLst/>
                        </a:rPr>
                        <a:t>Y205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99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4,99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4,9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4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854,3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70,8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3,5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3,5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76,7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06,80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80648272"/>
                  </a:ext>
                </a:extLst>
              </a:tr>
              <a:tr h="91311">
                <a:tc>
                  <a:txBody>
                    <a:bodyPr/>
                    <a:lstStyle/>
                    <a:p>
                      <a:pPr algn="ctr" fontAlgn="b"/>
                      <a:r>
                        <a:rPr lang="en-GB" sz="600" u="none" strike="noStrike">
                          <a:effectLst/>
                        </a:rPr>
                        <a:t>Y20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160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5,48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6,1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06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75,4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35,0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40,35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40,35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8,0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12,286.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25882860"/>
                  </a:ext>
                </a:extLst>
              </a:tr>
              <a:tr h="91311">
                <a:tc>
                  <a:txBody>
                    <a:bodyPr/>
                    <a:lstStyle/>
                    <a:p>
                      <a:pPr algn="ctr" fontAlgn="b"/>
                      <a:r>
                        <a:rPr lang="en-GB" sz="600" u="none" strike="noStrike">
                          <a:effectLst/>
                        </a:rPr>
                        <a:t>Y205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323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5,97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7,2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6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499,9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099,9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99,9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99,9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79,99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19,96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943807828"/>
                  </a:ext>
                </a:extLst>
              </a:tr>
              <a:tr h="91311">
                <a:tc>
                  <a:txBody>
                    <a:bodyPr/>
                    <a:lstStyle/>
                    <a:p>
                      <a:pPr algn="ctr" fontAlgn="b"/>
                      <a:r>
                        <a:rPr lang="en-GB" sz="600" u="none" strike="noStrike">
                          <a:effectLst/>
                        </a:rPr>
                        <a:t>Y206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486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6,46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8,4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2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827,5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165,5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62,0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62,0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32,41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29,64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46195766"/>
                  </a:ext>
                </a:extLst>
              </a:tr>
            </a:tbl>
          </a:graphicData>
        </a:graphic>
      </p:graphicFrame>
      <p:sp>
        <p:nvSpPr>
          <p:cNvPr id="6" name="TextBox 5">
            <a:extLst>
              <a:ext uri="{FF2B5EF4-FFF2-40B4-BE49-F238E27FC236}">
                <a16:creationId xmlns:a16="http://schemas.microsoft.com/office/drawing/2014/main" id="{FC652EF3-B629-4486-B407-7AF42C33E08C}"/>
              </a:ext>
            </a:extLst>
          </p:cNvPr>
          <p:cNvSpPr txBox="1"/>
          <p:nvPr/>
        </p:nvSpPr>
        <p:spPr>
          <a:xfrm>
            <a:off x="-20" y="5816070"/>
            <a:ext cx="12113251" cy="738664"/>
          </a:xfrm>
          <a:prstGeom prst="rect">
            <a:avLst/>
          </a:prstGeom>
          <a:solidFill>
            <a:schemeClr val="accent1">
              <a:lumMod val="50000"/>
            </a:schemeClr>
          </a:solidFill>
        </p:spPr>
        <p:txBody>
          <a:bodyPr wrap="square" lIns="91440" tIns="45720" rIns="91440" bIns="45720" rtlCol="0" anchor="t">
            <a:spAutoFit/>
          </a:bodyPr>
          <a:lstStyle/>
          <a:p>
            <a:r>
              <a:rPr lang="en-GB" sz="1400">
                <a:solidFill>
                  <a:schemeClr val="bg1"/>
                </a:solidFill>
                <a:ea typeface="+mn-lt"/>
                <a:cs typeface="+mn-lt"/>
              </a:rPr>
              <a:t>Considering our prediction that the ice will melt nearly 50% by 2050, and the North Sea Route will be passable during summertime, by 2050 30% of total vessels between Europe and Asia will choose their voyages via the North Sea Route. As a result, the remaining vessels that pass the Thai Canal will decrease in amount. Under this scenario, the IRR is 1% which is considered very low.</a:t>
            </a:r>
            <a:endParaRPr lang="en-US" sz="1400">
              <a:solidFill>
                <a:schemeClr val="bg1"/>
              </a:solidFill>
              <a:cs typeface="Calibri" panose="020F0502020204030204"/>
            </a:endParaRPr>
          </a:p>
        </p:txBody>
      </p:sp>
      <p:sp>
        <p:nvSpPr>
          <p:cNvPr id="7" name="Foliennummernplatzhalter 6">
            <a:extLst>
              <a:ext uri="{FF2B5EF4-FFF2-40B4-BE49-F238E27FC236}">
                <a16:creationId xmlns:a16="http://schemas.microsoft.com/office/drawing/2014/main" id="{4E05FEF1-1D38-4D88-87E0-40BDEE294DD5}"/>
              </a:ext>
            </a:extLst>
          </p:cNvPr>
          <p:cNvSpPr>
            <a:spLocks noGrp="1"/>
          </p:cNvSpPr>
          <p:nvPr>
            <p:ph type="sldNum" sz="quarter" idx="12"/>
          </p:nvPr>
        </p:nvSpPr>
        <p:spPr/>
        <p:txBody>
          <a:bodyPr/>
          <a:lstStyle/>
          <a:p>
            <a:fld id="{4A0B9D2D-6490-410F-BAA1-A5DF4CF5DAF3}" type="slidenum">
              <a:rPr lang="en-GB" smtClean="0"/>
              <a:t>21</a:t>
            </a:fld>
            <a:endParaRPr lang="en-GB"/>
          </a:p>
        </p:txBody>
      </p:sp>
    </p:spTree>
    <p:extLst>
      <p:ext uri="{BB962C8B-B14F-4D97-AF65-F5344CB8AC3E}">
        <p14:creationId xmlns:p14="http://schemas.microsoft.com/office/powerpoint/2010/main" val="19423480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Graph on document with pen">
            <a:extLst>
              <a:ext uri="{FF2B5EF4-FFF2-40B4-BE49-F238E27FC236}">
                <a16:creationId xmlns:a16="http://schemas.microsoft.com/office/drawing/2014/main" id="{F5F4C416-7767-4B9A-96EC-4171A7121450}"/>
              </a:ext>
            </a:extLst>
          </p:cNvPr>
          <p:cNvPicPr>
            <a:picLocks noChangeAspect="1"/>
          </p:cNvPicPr>
          <p:nvPr/>
        </p:nvPicPr>
        <p:blipFill rotWithShape="1">
          <a:blip r:embed="rId2"/>
          <a:srcRect t="1415" b="14315"/>
          <a:stretch/>
        </p:blipFill>
        <p:spPr>
          <a:xfrm>
            <a:off x="20" y="10"/>
            <a:ext cx="12191980" cy="6857990"/>
          </a:xfrm>
          <a:prstGeom prst="rect">
            <a:avLst/>
          </a:prstGeom>
        </p:spPr>
      </p:pic>
      <p:sp>
        <p:nvSpPr>
          <p:cNvPr id="4" name="Rectangle 3">
            <a:extLst>
              <a:ext uri="{FF2B5EF4-FFF2-40B4-BE49-F238E27FC236}">
                <a16:creationId xmlns:a16="http://schemas.microsoft.com/office/drawing/2014/main" id="{3CF18923-1425-454C-99F8-A290419A9973}"/>
              </a:ext>
            </a:extLst>
          </p:cNvPr>
          <p:cNvSpPr/>
          <p:nvPr/>
        </p:nvSpPr>
        <p:spPr>
          <a:xfrm>
            <a:off x="0" y="1536970"/>
            <a:ext cx="9873554" cy="44747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E040AD5-0D68-4621-AB86-12A9EDCCF60D}"/>
              </a:ext>
            </a:extLst>
          </p:cNvPr>
          <p:cNvSpPr/>
          <p:nvPr/>
        </p:nvSpPr>
        <p:spPr>
          <a:xfrm>
            <a:off x="5048658" y="118600"/>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r>
              <a:rPr lang="de-DE">
                <a:solidFill>
                  <a:prstClr val="white"/>
                </a:solidFill>
              </a:rPr>
              <a:t>Financial Model</a:t>
            </a:r>
          </a:p>
          <a:p>
            <a:pPr algn="ctr" defTabSz="914194"/>
            <a:r>
              <a:rPr lang="en-US">
                <a:solidFill>
                  <a:prstClr val="white"/>
                </a:solidFill>
              </a:rPr>
              <a:t>Worst</a:t>
            </a:r>
            <a:r>
              <a:rPr lang="de-DE">
                <a:solidFill>
                  <a:prstClr val="white"/>
                </a:solidFill>
              </a:rPr>
              <a:t> Case Scenario</a:t>
            </a:r>
            <a:endParaRPr lang="en-US">
              <a:solidFill>
                <a:prstClr val="white"/>
              </a:solidFill>
            </a:endParaRPr>
          </a:p>
          <a:p>
            <a:pPr algn="ctr" defTabSz="914194"/>
            <a:endParaRPr lang="en-US">
              <a:solidFill>
                <a:prstClr val="white"/>
              </a:solidFill>
            </a:endParaRPr>
          </a:p>
        </p:txBody>
      </p:sp>
      <p:graphicFrame>
        <p:nvGraphicFramePr>
          <p:cNvPr id="2" name="Table 1">
            <a:extLst>
              <a:ext uri="{FF2B5EF4-FFF2-40B4-BE49-F238E27FC236}">
                <a16:creationId xmlns:a16="http://schemas.microsoft.com/office/drawing/2014/main" id="{EC17FD42-03F8-4F72-B551-5E15079E50DD}"/>
              </a:ext>
            </a:extLst>
          </p:cNvPr>
          <p:cNvGraphicFramePr>
            <a:graphicFrameLocks noGrp="1"/>
          </p:cNvGraphicFramePr>
          <p:nvPr>
            <p:extLst>
              <p:ext uri="{D42A27DB-BD31-4B8C-83A1-F6EECF244321}">
                <p14:modId xmlns:p14="http://schemas.microsoft.com/office/powerpoint/2010/main" val="3926460814"/>
              </p:ext>
            </p:extLst>
          </p:nvPr>
        </p:nvGraphicFramePr>
        <p:xfrm>
          <a:off x="-2" y="1536970"/>
          <a:ext cx="9873556" cy="4220839"/>
        </p:xfrm>
        <a:graphic>
          <a:graphicData uri="http://schemas.openxmlformats.org/drawingml/2006/table">
            <a:tbl>
              <a:tblPr>
                <a:tableStyleId>{5C22544A-7EE6-4342-B048-85BDC9FD1C3A}</a:tableStyleId>
              </a:tblPr>
              <a:tblGrid>
                <a:gridCol w="382288">
                  <a:extLst>
                    <a:ext uri="{9D8B030D-6E8A-4147-A177-3AD203B41FA5}">
                      <a16:colId xmlns:a16="http://schemas.microsoft.com/office/drawing/2014/main" val="1084876914"/>
                    </a:ext>
                  </a:extLst>
                </a:gridCol>
                <a:gridCol w="540475">
                  <a:extLst>
                    <a:ext uri="{9D8B030D-6E8A-4147-A177-3AD203B41FA5}">
                      <a16:colId xmlns:a16="http://schemas.microsoft.com/office/drawing/2014/main" val="3504006428"/>
                    </a:ext>
                  </a:extLst>
                </a:gridCol>
                <a:gridCol w="659116">
                  <a:extLst>
                    <a:ext uri="{9D8B030D-6E8A-4147-A177-3AD203B41FA5}">
                      <a16:colId xmlns:a16="http://schemas.microsoft.com/office/drawing/2014/main" val="3682182648"/>
                    </a:ext>
                  </a:extLst>
                </a:gridCol>
                <a:gridCol w="626160">
                  <a:extLst>
                    <a:ext uri="{9D8B030D-6E8A-4147-A177-3AD203B41FA5}">
                      <a16:colId xmlns:a16="http://schemas.microsoft.com/office/drawing/2014/main" val="2412767974"/>
                    </a:ext>
                  </a:extLst>
                </a:gridCol>
                <a:gridCol w="626160">
                  <a:extLst>
                    <a:ext uri="{9D8B030D-6E8A-4147-A177-3AD203B41FA5}">
                      <a16:colId xmlns:a16="http://schemas.microsoft.com/office/drawing/2014/main" val="848811620"/>
                    </a:ext>
                  </a:extLst>
                </a:gridCol>
                <a:gridCol w="500928">
                  <a:extLst>
                    <a:ext uri="{9D8B030D-6E8A-4147-A177-3AD203B41FA5}">
                      <a16:colId xmlns:a16="http://schemas.microsoft.com/office/drawing/2014/main" val="1083647717"/>
                    </a:ext>
                  </a:extLst>
                </a:gridCol>
                <a:gridCol w="665707">
                  <a:extLst>
                    <a:ext uri="{9D8B030D-6E8A-4147-A177-3AD203B41FA5}">
                      <a16:colId xmlns:a16="http://schemas.microsoft.com/office/drawing/2014/main" val="1917240393"/>
                    </a:ext>
                  </a:extLst>
                </a:gridCol>
                <a:gridCol w="619569">
                  <a:extLst>
                    <a:ext uri="{9D8B030D-6E8A-4147-A177-3AD203B41FA5}">
                      <a16:colId xmlns:a16="http://schemas.microsoft.com/office/drawing/2014/main" val="2476760202"/>
                    </a:ext>
                  </a:extLst>
                </a:gridCol>
                <a:gridCol w="665707">
                  <a:extLst>
                    <a:ext uri="{9D8B030D-6E8A-4147-A177-3AD203B41FA5}">
                      <a16:colId xmlns:a16="http://schemas.microsoft.com/office/drawing/2014/main" val="1011456905"/>
                    </a:ext>
                  </a:extLst>
                </a:gridCol>
                <a:gridCol w="619569">
                  <a:extLst>
                    <a:ext uri="{9D8B030D-6E8A-4147-A177-3AD203B41FA5}">
                      <a16:colId xmlns:a16="http://schemas.microsoft.com/office/drawing/2014/main" val="2376856722"/>
                    </a:ext>
                  </a:extLst>
                </a:gridCol>
                <a:gridCol w="659116">
                  <a:extLst>
                    <a:ext uri="{9D8B030D-6E8A-4147-A177-3AD203B41FA5}">
                      <a16:colId xmlns:a16="http://schemas.microsoft.com/office/drawing/2014/main" val="587997829"/>
                    </a:ext>
                  </a:extLst>
                </a:gridCol>
                <a:gridCol w="659116">
                  <a:extLst>
                    <a:ext uri="{9D8B030D-6E8A-4147-A177-3AD203B41FA5}">
                      <a16:colId xmlns:a16="http://schemas.microsoft.com/office/drawing/2014/main" val="2835842876"/>
                    </a:ext>
                  </a:extLst>
                </a:gridCol>
                <a:gridCol w="665707">
                  <a:extLst>
                    <a:ext uri="{9D8B030D-6E8A-4147-A177-3AD203B41FA5}">
                      <a16:colId xmlns:a16="http://schemas.microsoft.com/office/drawing/2014/main" val="2981076243"/>
                    </a:ext>
                  </a:extLst>
                </a:gridCol>
                <a:gridCol w="665707">
                  <a:extLst>
                    <a:ext uri="{9D8B030D-6E8A-4147-A177-3AD203B41FA5}">
                      <a16:colId xmlns:a16="http://schemas.microsoft.com/office/drawing/2014/main" val="100651393"/>
                    </a:ext>
                  </a:extLst>
                </a:gridCol>
                <a:gridCol w="619569">
                  <a:extLst>
                    <a:ext uri="{9D8B030D-6E8A-4147-A177-3AD203B41FA5}">
                      <a16:colId xmlns:a16="http://schemas.microsoft.com/office/drawing/2014/main" val="1644474017"/>
                    </a:ext>
                  </a:extLst>
                </a:gridCol>
                <a:gridCol w="698662">
                  <a:extLst>
                    <a:ext uri="{9D8B030D-6E8A-4147-A177-3AD203B41FA5}">
                      <a16:colId xmlns:a16="http://schemas.microsoft.com/office/drawing/2014/main" val="2416434830"/>
                    </a:ext>
                  </a:extLst>
                </a:gridCol>
              </a:tblGrid>
              <a:tr h="563239">
                <a:tc>
                  <a:txBody>
                    <a:bodyPr/>
                    <a:lstStyle/>
                    <a:p>
                      <a:pPr algn="ctr" fontAlgn="ctr"/>
                      <a:r>
                        <a:rPr lang="en-US" sz="600" u="none" strike="noStrike">
                          <a:effectLst/>
                        </a:rPr>
                        <a:t>Internal Rate Of Return: 0.0%</a:t>
                      </a:r>
                      <a:endParaRPr lang="en-US" sz="600" b="1" i="0" u="none" strike="noStrike">
                        <a:solidFill>
                          <a:srgbClr val="C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tal Nr. Of  </a:t>
                      </a:r>
                      <a:br>
                        <a:rPr lang="en-US" sz="600" u="none" strike="noStrike">
                          <a:effectLst/>
                        </a:rPr>
                      </a:br>
                      <a:r>
                        <a:rPr lang="en-US" sz="600" u="none" strike="noStrike">
                          <a:effectLst/>
                        </a:rPr>
                        <a:t>Vessels between </a:t>
                      </a:r>
                      <a:br>
                        <a:rPr lang="en-US" sz="600" u="none" strike="noStrike">
                          <a:effectLst/>
                        </a:rPr>
                      </a:br>
                      <a:r>
                        <a:rPr lang="en-US" sz="600" u="none" strike="noStrike">
                          <a:effectLst/>
                        </a:rPr>
                        <a:t>Europe and Asia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Vessels transit through North Sea Route</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Total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Malacca and </a:t>
                      </a:r>
                      <a:br>
                        <a:rPr lang="en-US" sz="600" u="none" strike="noStrike">
                          <a:effectLst/>
                        </a:rPr>
                      </a:br>
                      <a:r>
                        <a:rPr lang="en-US" sz="600" u="none" strike="noStrike">
                          <a:effectLst/>
                        </a:rPr>
                        <a:t>Thai Canal</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Predicted Nr. Of </a:t>
                      </a:r>
                      <a:br>
                        <a:rPr lang="en-US" sz="600" u="none" strike="noStrike">
                          <a:effectLst/>
                        </a:rPr>
                      </a:br>
                      <a:r>
                        <a:rPr lang="en-US" sz="600" u="none" strike="noStrike">
                          <a:effectLst/>
                        </a:rPr>
                        <a:t>Vessels through </a:t>
                      </a:r>
                      <a:br>
                        <a:rPr lang="en-US" sz="600" u="none" strike="noStrike">
                          <a:effectLst/>
                        </a:rPr>
                      </a:br>
                      <a:r>
                        <a:rPr lang="en-US" sz="600" u="none" strike="noStrike">
                          <a:effectLst/>
                        </a:rPr>
                        <a:t>Thai Canal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Toll Charges </a:t>
                      </a:r>
                      <a:br>
                        <a:rPr lang="en-US" sz="600" u="none" strike="noStrike">
                          <a:effectLst/>
                        </a:rPr>
                      </a:br>
                      <a:r>
                        <a:rPr lang="en-US" sz="600" u="none" strike="noStrike">
                          <a:effectLst/>
                        </a:rPr>
                        <a:t>per vessel</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Revnue</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 Operation Cost </a:t>
                      </a:r>
                      <a:br>
                        <a:rPr lang="en-US" sz="600" u="none" strike="noStrike">
                          <a:effectLst/>
                        </a:rPr>
                      </a:br>
                      <a:r>
                        <a:rPr lang="en-US" sz="600" u="none" strike="noStrike">
                          <a:effectLst/>
                        </a:rPr>
                        <a:t>20% of Revenue</a:t>
                      </a:r>
                      <a:br>
                        <a:rPr lang="en-US" sz="600" u="none" strike="noStrike">
                          <a:effectLst/>
                        </a:rPr>
                      </a:br>
                      <a:r>
                        <a:rPr lang="en-US" sz="600" u="none" strike="noStrike">
                          <a:effectLst/>
                        </a:rPr>
                        <a:t>(USD'000) </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BI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Debt Repayment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onstruction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US" sz="600" u="none" strike="noStrike">
                          <a:effectLst/>
                        </a:rPr>
                        <a:t>Interest Rate</a:t>
                      </a:r>
                      <a:br>
                        <a:rPr lang="en-US" sz="600" u="none" strike="noStrike">
                          <a:effectLst/>
                        </a:rPr>
                      </a:br>
                      <a:r>
                        <a:rPr lang="en-US" sz="600" u="none" strike="noStrike">
                          <a:effectLst/>
                        </a:rPr>
                        <a:t>(20 years Thai Bond)</a:t>
                      </a:r>
                      <a:endParaRPr lang="en-US"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Cumulated Cost</a:t>
                      </a:r>
                      <a:br>
                        <a:rPr lang="en-GB" sz="600" u="none" strike="noStrike">
                          <a:effectLst/>
                        </a:rPr>
                      </a:br>
                      <a:r>
                        <a:rPr lang="en-GB" sz="600" u="none" strike="noStrike">
                          <a:effectLst/>
                        </a:rPr>
                        <a:t>(USD'00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Eearning </a:t>
                      </a:r>
                      <a:br>
                        <a:rPr lang="en-GB" sz="600" u="none" strike="noStrike">
                          <a:effectLst/>
                        </a:rPr>
                      </a:br>
                      <a:r>
                        <a:rPr lang="en-GB" sz="600" u="none" strike="noStrike">
                          <a:effectLst/>
                        </a:rPr>
                        <a:t>Before</a:t>
                      </a:r>
                      <a:br>
                        <a:rPr lang="en-GB" sz="600" u="none" strike="noStrike">
                          <a:effectLst/>
                        </a:rPr>
                      </a:br>
                      <a:r>
                        <a:rPr lang="en-GB" sz="600" u="none" strike="noStrike">
                          <a:effectLst/>
                        </a:rPr>
                        <a:t>Tax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Thailand CorpTax</a:t>
                      </a:r>
                      <a:br>
                        <a:rPr lang="en-GB" sz="600" u="none" strike="noStrike">
                          <a:effectLst/>
                        </a:rPr>
                      </a:br>
                      <a:r>
                        <a:rPr lang="en-GB" sz="600" u="none" strike="noStrike">
                          <a:effectLst/>
                        </a:rPr>
                        <a:t>(20%) </a:t>
                      </a:r>
                      <a:endParaRPr lang="en-GB" sz="600" b="1"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600" u="none" strike="noStrike">
                          <a:effectLst/>
                        </a:rPr>
                        <a:t> Net Profit </a:t>
                      </a:r>
                      <a:endParaRPr lang="en-GB" sz="600" b="1" i="0" u="none" strike="noStrike">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2055672357"/>
                  </a:ext>
                </a:extLst>
              </a:tr>
              <a:tr h="83375">
                <a:tc>
                  <a:txBody>
                    <a:bodyPr/>
                    <a:lstStyle/>
                    <a:p>
                      <a:pPr algn="ctr" fontAlgn="b"/>
                      <a:r>
                        <a:rPr lang="en-GB" sz="600" u="none" strike="noStrike">
                          <a:effectLst/>
                        </a:rPr>
                        <a:t>Y202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72,15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711257051"/>
                  </a:ext>
                </a:extLst>
              </a:tr>
              <a:tr h="83375">
                <a:tc>
                  <a:txBody>
                    <a:bodyPr/>
                    <a:lstStyle/>
                    <a:p>
                      <a:pPr algn="ctr" fontAlgn="b"/>
                      <a:r>
                        <a:rPr lang="en-GB" sz="600" u="none" strike="noStrike">
                          <a:effectLst/>
                        </a:rPr>
                        <a:t>Y202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18,32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710618618"/>
                  </a:ext>
                </a:extLst>
              </a:tr>
              <a:tr h="83375">
                <a:tc>
                  <a:txBody>
                    <a:bodyPr/>
                    <a:lstStyle/>
                    <a:p>
                      <a:pPr algn="ctr" fontAlgn="b"/>
                      <a:r>
                        <a:rPr lang="en-GB" sz="600" u="none" strike="noStrike">
                          <a:effectLst/>
                        </a:rPr>
                        <a:t>Y202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40,421.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526303225"/>
                  </a:ext>
                </a:extLst>
              </a:tr>
              <a:tr h="83375">
                <a:tc>
                  <a:txBody>
                    <a:bodyPr/>
                    <a:lstStyle/>
                    <a:p>
                      <a:pPr algn="ctr" fontAlgn="b"/>
                      <a:r>
                        <a:rPr lang="en-GB" sz="600" u="none" strike="noStrike">
                          <a:effectLst/>
                        </a:rPr>
                        <a:t>Y202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940,39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166016175"/>
                  </a:ext>
                </a:extLst>
              </a:tr>
              <a:tr h="83375">
                <a:tc>
                  <a:txBody>
                    <a:bodyPr/>
                    <a:lstStyle/>
                    <a:p>
                      <a:pPr algn="ctr" fontAlgn="b"/>
                      <a:r>
                        <a:rPr lang="en-GB" sz="600" u="none" strike="noStrike">
                          <a:effectLst/>
                        </a:rPr>
                        <a:t>Y202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120,255.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380471887"/>
                  </a:ext>
                </a:extLst>
              </a:tr>
              <a:tr h="83375">
                <a:tc>
                  <a:txBody>
                    <a:bodyPr/>
                    <a:lstStyle/>
                    <a:p>
                      <a:pPr algn="ctr" fontAlgn="b"/>
                      <a:r>
                        <a:rPr lang="en-GB" sz="600" u="none" strike="noStrike">
                          <a:effectLst/>
                        </a:rPr>
                        <a:t>Y202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382,060.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18178164"/>
                  </a:ext>
                </a:extLst>
              </a:tr>
              <a:tr h="83375">
                <a:tc>
                  <a:txBody>
                    <a:bodyPr/>
                    <a:lstStyle/>
                    <a:p>
                      <a:pPr algn="ctr" fontAlgn="b"/>
                      <a:r>
                        <a:rPr lang="en-GB" sz="600" u="none" strike="noStrike">
                          <a:effectLst/>
                        </a:rPr>
                        <a:t>Y202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727,922.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105796931"/>
                  </a:ext>
                </a:extLst>
              </a:tr>
              <a:tr h="83375">
                <a:tc>
                  <a:txBody>
                    <a:bodyPr/>
                    <a:lstStyle/>
                    <a:p>
                      <a:pPr algn="ctr" fontAlgn="b"/>
                      <a:r>
                        <a:rPr lang="en-GB" sz="600" u="none" strike="noStrike">
                          <a:effectLst/>
                        </a:rPr>
                        <a:t>Y202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160,00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10089194"/>
                  </a:ext>
                </a:extLst>
              </a:tr>
              <a:tr h="83375">
                <a:tc>
                  <a:txBody>
                    <a:bodyPr/>
                    <a:lstStyle/>
                    <a:p>
                      <a:pPr algn="ctr" fontAlgn="b"/>
                      <a:r>
                        <a:rPr lang="en-GB" sz="600" u="none" strike="noStrike">
                          <a:effectLst/>
                        </a:rPr>
                        <a:t>Y202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80,536.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273253292"/>
                  </a:ext>
                </a:extLst>
              </a:tr>
              <a:tr h="83375">
                <a:tc>
                  <a:txBody>
                    <a:bodyPr/>
                    <a:lstStyle/>
                    <a:p>
                      <a:pPr algn="ctr" fontAlgn="b"/>
                      <a:r>
                        <a:rPr lang="en-GB" sz="600" u="none" strike="noStrike">
                          <a:effectLst/>
                        </a:rPr>
                        <a:t>Y203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r" fontAlgn="b"/>
                      <a:r>
                        <a:rPr lang="en-GB" sz="600" u="none" strike="noStrike">
                          <a:effectLst/>
                        </a:rPr>
                        <a:t>2.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2,291,78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224737975"/>
                  </a:ext>
                </a:extLst>
              </a:tr>
              <a:tr h="83375">
                <a:tc>
                  <a:txBody>
                    <a:bodyPr/>
                    <a:lstStyle/>
                    <a:p>
                      <a:pPr algn="ctr" fontAlgn="b"/>
                      <a:r>
                        <a:rPr lang="en-GB" sz="600" u="none" strike="noStrike">
                          <a:effectLst/>
                        </a:rPr>
                        <a:t>Y203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749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1,619.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5,8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93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46,5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9,3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17,2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566,579.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156066871"/>
                  </a:ext>
                </a:extLst>
              </a:tr>
              <a:tr h="83375">
                <a:tc>
                  <a:txBody>
                    <a:bodyPr/>
                    <a:lstStyle/>
                    <a:p>
                      <a:pPr algn="ctr" fontAlgn="b"/>
                      <a:r>
                        <a:rPr lang="en-GB" sz="600" u="none" strike="noStrike">
                          <a:effectLst/>
                        </a:rPr>
                        <a:t>Y203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091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01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7,1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9,87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77,9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1,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416,867.00)</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826971952"/>
                  </a:ext>
                </a:extLst>
              </a:tr>
              <a:tr h="83375">
                <a:tc>
                  <a:txBody>
                    <a:bodyPr/>
                    <a:lstStyle/>
                    <a:p>
                      <a:pPr algn="ctr" fontAlgn="b"/>
                      <a:r>
                        <a:rPr lang="en-GB" sz="600" u="none" strike="noStrike">
                          <a:effectLst/>
                        </a:rPr>
                        <a:t>Y203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076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43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8,32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1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32,7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6,5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06,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32,0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4,874,1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4,82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3,899,29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744789457"/>
                  </a:ext>
                </a:extLst>
              </a:tr>
              <a:tr h="83375">
                <a:tc>
                  <a:txBody>
                    <a:bodyPr/>
                    <a:lstStyle/>
                    <a:p>
                      <a:pPr algn="ctr" fontAlgn="b"/>
                      <a:r>
                        <a:rPr lang="en-GB" sz="600" u="none" strike="noStrike">
                          <a:effectLst/>
                        </a:rPr>
                        <a:t>Y203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23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79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9,6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8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385,2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77,0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08,20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81,6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26,56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185487580"/>
                  </a:ext>
                </a:extLst>
              </a:tr>
              <a:tr h="83375">
                <a:tc>
                  <a:txBody>
                    <a:bodyPr/>
                    <a:lstStyle/>
                    <a:p>
                      <a:pPr algn="ctr" fontAlgn="b"/>
                      <a:r>
                        <a:rPr lang="en-GB" sz="600" u="none" strike="noStrike">
                          <a:effectLst/>
                        </a:rPr>
                        <a:t>Y203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403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09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0,9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5,4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47,3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29,4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17,91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3,58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094,32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71012994"/>
                  </a:ext>
                </a:extLst>
              </a:tr>
              <a:tr h="83375">
                <a:tc>
                  <a:txBody>
                    <a:bodyPr/>
                    <a:lstStyle/>
                    <a:p>
                      <a:pPr algn="ctr" fontAlgn="b"/>
                      <a:r>
                        <a:rPr lang="en-GB" sz="600" u="none" strike="noStrike">
                          <a:effectLst/>
                        </a:rPr>
                        <a:t>Y203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56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48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2,1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09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900,7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80,1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20,5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4,11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256,44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893699342"/>
                  </a:ext>
                </a:extLst>
              </a:tr>
              <a:tr h="83375">
                <a:tc>
                  <a:txBody>
                    <a:bodyPr/>
                    <a:lstStyle/>
                    <a:p>
                      <a:pPr algn="ctr" fontAlgn="b"/>
                      <a:r>
                        <a:rPr lang="en-GB" sz="600" u="none" strike="noStrike">
                          <a:effectLst/>
                        </a:rPr>
                        <a:t>Y203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729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3,90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3,3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6,6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153,4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30,6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22,7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04,5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18,22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055563137"/>
                  </a:ext>
                </a:extLst>
              </a:tr>
              <a:tr h="83375">
                <a:tc>
                  <a:txBody>
                    <a:bodyPr/>
                    <a:lstStyle/>
                    <a:p>
                      <a:pPr algn="ctr" fontAlgn="b"/>
                      <a:r>
                        <a:rPr lang="en-GB" sz="600" u="none" strike="noStrike">
                          <a:effectLst/>
                        </a:rPr>
                        <a:t>Y203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189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26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4,6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7,3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415,9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3,1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732,7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46,5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586,19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682630925"/>
                  </a:ext>
                </a:extLst>
              </a:tr>
              <a:tr h="83375">
                <a:tc>
                  <a:txBody>
                    <a:bodyPr/>
                    <a:lstStyle/>
                    <a:p>
                      <a:pPr algn="ctr" fontAlgn="b"/>
                      <a:r>
                        <a:rPr lang="en-GB" sz="600" u="none" strike="noStrike">
                          <a:effectLst/>
                        </a:rPr>
                        <a:t>Y203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056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4,56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16,00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8,0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688,7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37,7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950,9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90,1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760,77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164737488"/>
                  </a:ext>
                </a:extLst>
              </a:tr>
              <a:tr h="83375">
                <a:tc>
                  <a:txBody>
                    <a:bodyPr/>
                    <a:lstStyle/>
                    <a:p>
                      <a:pPr algn="ctr" fontAlgn="b"/>
                      <a:r>
                        <a:rPr lang="en-GB" sz="600" u="none" strike="noStrike">
                          <a:effectLst/>
                        </a:rPr>
                        <a:t>Y204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21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4,44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97,7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48,8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633,4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26,68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06,7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306,75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61,3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445,40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910652832"/>
                  </a:ext>
                </a:extLst>
              </a:tr>
              <a:tr h="83375">
                <a:tc>
                  <a:txBody>
                    <a:bodyPr/>
                    <a:lstStyle/>
                    <a:p>
                      <a:pPr algn="ctr" fontAlgn="b"/>
                      <a:r>
                        <a:rPr lang="en-GB" sz="600" u="none" strike="noStrike">
                          <a:effectLst/>
                        </a:rPr>
                        <a:t>Y204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383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4,766.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99,06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49,53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887,9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377,5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0,3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10,3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02,0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608,26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522462307"/>
                  </a:ext>
                </a:extLst>
              </a:tr>
              <a:tr h="83375">
                <a:tc>
                  <a:txBody>
                    <a:bodyPr/>
                    <a:lstStyle/>
                    <a:p>
                      <a:pPr algn="ctr" fontAlgn="b"/>
                      <a:r>
                        <a:rPr lang="en-GB" sz="600" u="none" strike="noStrike">
                          <a:effectLst/>
                        </a:rPr>
                        <a:t>Y204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54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5,093.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0,37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0,1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145,2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29,05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16,2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16,20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43,2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772,96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90419907"/>
                  </a:ext>
                </a:extLst>
              </a:tr>
              <a:tr h="83375">
                <a:tc>
                  <a:txBody>
                    <a:bodyPr/>
                    <a:lstStyle/>
                    <a:p>
                      <a:pPr algn="ctr" fontAlgn="b"/>
                      <a:r>
                        <a:rPr lang="en-GB" sz="600" u="none" strike="noStrike">
                          <a:effectLst/>
                        </a:rPr>
                        <a:t>Y204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709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5,42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1,67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0,8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404,9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80,9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23,9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23,9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84,79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39,17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719588102"/>
                  </a:ext>
                </a:extLst>
              </a:tr>
              <a:tr h="83375">
                <a:tc>
                  <a:txBody>
                    <a:bodyPr/>
                    <a:lstStyle/>
                    <a:p>
                      <a:pPr algn="ctr" fontAlgn="b"/>
                      <a:r>
                        <a:rPr lang="en-GB" sz="600" u="none" strike="noStrike">
                          <a:effectLst/>
                        </a:rPr>
                        <a:t>Y204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287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5,74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2,9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1,4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667,2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33,4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33,8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33,8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26,7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107,05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502654604"/>
                  </a:ext>
                </a:extLst>
              </a:tr>
              <a:tr h="83375">
                <a:tc>
                  <a:txBody>
                    <a:bodyPr/>
                    <a:lstStyle/>
                    <a:p>
                      <a:pPr algn="ctr" fontAlgn="b"/>
                      <a:r>
                        <a:rPr lang="en-GB" sz="600" u="none" strike="noStrike">
                          <a:effectLst/>
                        </a:rPr>
                        <a:t>Y204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036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6,073.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4,2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1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4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2,932,4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86,4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45,9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45,9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69,19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276,772.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213434133"/>
                  </a:ext>
                </a:extLst>
              </a:tr>
              <a:tr h="83375">
                <a:tc>
                  <a:txBody>
                    <a:bodyPr/>
                    <a:lstStyle/>
                    <a:p>
                      <a:pPr algn="ctr" fontAlgn="b"/>
                      <a:r>
                        <a:rPr lang="en-GB" sz="600" u="none" strike="noStrike">
                          <a:effectLst/>
                        </a:rPr>
                        <a:t>Y204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20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6,40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5,6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2,8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20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4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6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560,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12,0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48,00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397287628"/>
                  </a:ext>
                </a:extLst>
              </a:tr>
              <a:tr h="83375">
                <a:tc>
                  <a:txBody>
                    <a:bodyPr/>
                    <a:lstStyle/>
                    <a:p>
                      <a:pPr algn="ctr" fontAlgn="b"/>
                      <a:r>
                        <a:rPr lang="en-GB" sz="600" u="none" strike="noStrike">
                          <a:effectLst/>
                        </a:rPr>
                        <a:t>Y204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3633</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6,72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6,90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3,4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523,60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04,7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18,8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18,88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63,7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655,110.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155679681"/>
                  </a:ext>
                </a:extLst>
              </a:tr>
              <a:tr h="83375">
                <a:tc>
                  <a:txBody>
                    <a:bodyPr/>
                    <a:lstStyle/>
                    <a:p>
                      <a:pPr algn="ctr" fontAlgn="b"/>
                      <a:r>
                        <a:rPr lang="en-GB" sz="600" u="none" strike="noStrike">
                          <a:effectLst/>
                        </a:rPr>
                        <a:t>Y204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52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7,053.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8,2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10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3,851,3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70,27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081,1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081,11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16,22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64,89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950662448"/>
                  </a:ext>
                </a:extLst>
              </a:tr>
              <a:tr h="83375">
                <a:tc>
                  <a:txBody>
                    <a:bodyPr/>
                    <a:lstStyle/>
                    <a:p>
                      <a:pPr algn="ctr" fontAlgn="b"/>
                      <a:r>
                        <a:rPr lang="en-GB" sz="600" u="none" strike="noStrike">
                          <a:effectLst/>
                        </a:rPr>
                        <a:t>Y204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6900</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27,380.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109,5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54,7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182,84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36,5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46,2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46,27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69,25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77,018.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510600146"/>
                  </a:ext>
                </a:extLst>
              </a:tr>
              <a:tr h="83375">
                <a:tc>
                  <a:txBody>
                    <a:bodyPr/>
                    <a:lstStyle/>
                    <a:p>
                      <a:pPr algn="ctr" fontAlgn="b"/>
                      <a:r>
                        <a:rPr lang="en-GB" sz="600" u="none" strike="noStrike">
                          <a:effectLst/>
                        </a:rPr>
                        <a:t>Y205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385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69,26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69,2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4,6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74,1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14,82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259,2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259,2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51,85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807,42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14325668"/>
                  </a:ext>
                </a:extLst>
              </a:tr>
              <a:tr h="83375">
                <a:tc>
                  <a:txBody>
                    <a:bodyPr/>
                    <a:lstStyle/>
                    <a:p>
                      <a:pPr algn="ctr" fontAlgn="b"/>
                      <a:r>
                        <a:rPr lang="en-GB" sz="600" u="none" strike="noStrike">
                          <a:effectLst/>
                        </a:rPr>
                        <a:t>Y2051</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0167</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0,084.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0,08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5,04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286,13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57,2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428,9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428,9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485,78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5,943,12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484501405"/>
                  </a:ext>
                </a:extLst>
              </a:tr>
              <a:tr h="83375">
                <a:tc>
                  <a:txBody>
                    <a:bodyPr/>
                    <a:lstStyle/>
                    <a:p>
                      <a:pPr algn="ctr" fontAlgn="b"/>
                      <a:r>
                        <a:rPr lang="en-GB" sz="600" u="none" strike="noStrike">
                          <a:effectLst/>
                        </a:rPr>
                        <a:t>Y2052</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18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0,90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0,9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5,4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6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500,60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00,1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600,4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600,4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20,09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080,38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710913513"/>
                  </a:ext>
                </a:extLst>
              </a:tr>
              <a:tr h="83375">
                <a:tc>
                  <a:txBody>
                    <a:bodyPr/>
                    <a:lstStyle/>
                    <a:p>
                      <a:pPr algn="ctr" fontAlgn="b"/>
                      <a:r>
                        <a:rPr lang="en-GB" sz="600" u="none" strike="noStrike">
                          <a:effectLst/>
                        </a:rPr>
                        <a:t>Y2053</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3434</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1,717.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1,7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5,85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717,7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43,5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774,2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774,23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54,84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219,385.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955123272"/>
                  </a:ext>
                </a:extLst>
              </a:tr>
              <a:tr h="83375">
                <a:tc>
                  <a:txBody>
                    <a:bodyPr/>
                    <a:lstStyle/>
                    <a:p>
                      <a:pPr algn="ctr" fontAlgn="b"/>
                      <a:r>
                        <a:rPr lang="en-GB" sz="600" u="none" strike="noStrike">
                          <a:effectLst/>
                        </a:rPr>
                        <a:t>Y2054</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50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2,534.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2,5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6,2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937,1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987,43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49,7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949,72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589,94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359,78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2133341972"/>
                  </a:ext>
                </a:extLst>
              </a:tr>
              <a:tr h="83375">
                <a:tc>
                  <a:txBody>
                    <a:bodyPr/>
                    <a:lstStyle/>
                    <a:p>
                      <a:pPr algn="ctr" fontAlgn="b"/>
                      <a:r>
                        <a:rPr lang="en-GB" sz="600" u="none" strike="noStrike">
                          <a:effectLst/>
                        </a:rPr>
                        <a:t>Y2055</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6701</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3,35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3,3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6,6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7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158,97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31,795.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127,1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127,1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25,4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501,744.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84966981"/>
                  </a:ext>
                </a:extLst>
              </a:tr>
              <a:tr h="83375">
                <a:tc>
                  <a:txBody>
                    <a:bodyPr/>
                    <a:lstStyle/>
                    <a:p>
                      <a:pPr algn="ctr" fontAlgn="b"/>
                      <a:r>
                        <a:rPr lang="en-GB" sz="600" u="none" strike="noStrike">
                          <a:effectLst/>
                        </a:rPr>
                        <a:t>Y2056</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8335</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4,16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4,16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7,0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383,52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076,70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306,8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306,81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61,36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645,45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43113128"/>
                  </a:ext>
                </a:extLst>
              </a:tr>
              <a:tr h="83375">
                <a:tc>
                  <a:txBody>
                    <a:bodyPr/>
                    <a:lstStyle/>
                    <a:p>
                      <a:pPr algn="ctr" fontAlgn="b"/>
                      <a:r>
                        <a:rPr lang="en-GB" sz="600" u="none" strike="noStrike">
                          <a:effectLst/>
                        </a:rPr>
                        <a:t>Y2057</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49968</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4,984.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4,98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7,4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610,23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22,04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88,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488,1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697,63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790,551.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682143882"/>
                  </a:ext>
                </a:extLst>
              </a:tr>
              <a:tr h="83375">
                <a:tc>
                  <a:txBody>
                    <a:bodyPr/>
                    <a:lstStyle/>
                    <a:p>
                      <a:pPr algn="ctr" fontAlgn="b"/>
                      <a:r>
                        <a:rPr lang="en-GB" sz="600" u="none" strike="noStrike">
                          <a:effectLst/>
                        </a:rPr>
                        <a:t>Y2058</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1602</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5,801.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5,8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7,9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0,839,686.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167,93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671,74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671,74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734,35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6,937,399.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729215418"/>
                  </a:ext>
                </a:extLst>
              </a:tr>
              <a:tr h="83375">
                <a:tc>
                  <a:txBody>
                    <a:bodyPr/>
                    <a:lstStyle/>
                    <a:p>
                      <a:pPr algn="ctr" fontAlgn="b"/>
                      <a:r>
                        <a:rPr lang="en-GB" sz="600" u="none" strike="noStrike">
                          <a:effectLst/>
                        </a:rPr>
                        <a:t>Y2059</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3236</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6,618.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6,61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8,30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89.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071,30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14,260.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57,0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8,857,04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771,40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085,63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229256825"/>
                  </a:ext>
                </a:extLst>
              </a:tr>
              <a:tr h="83375">
                <a:tc>
                  <a:txBody>
                    <a:bodyPr/>
                    <a:lstStyle/>
                    <a:p>
                      <a:pPr algn="ctr" fontAlgn="b"/>
                      <a:r>
                        <a:rPr lang="en-GB" sz="600" u="none" strike="noStrike">
                          <a:effectLst/>
                        </a:rPr>
                        <a:t>Y2060</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t"/>
                      <a:r>
                        <a:rPr lang="en-GB" sz="600" u="none" strike="noStrike">
                          <a:effectLst/>
                        </a:rPr>
                        <a:t>154869</a:t>
                      </a:r>
                      <a:endParaRPr lang="en-GB" sz="600" b="0" i="0" u="none" strike="noStrike">
                        <a:solidFill>
                          <a:srgbClr val="000000"/>
                        </a:solidFill>
                        <a:effectLst/>
                        <a:latin typeface="Arial" panose="020B0604020202020204" pitchFamily="34" charset="0"/>
                      </a:endParaRPr>
                    </a:p>
                  </a:txBody>
                  <a:tcPr marL="0" marR="0" marT="0" marB="0"/>
                </a:tc>
                <a:tc>
                  <a:txBody>
                    <a:bodyPr/>
                    <a:lstStyle/>
                    <a:p>
                      <a:pPr algn="ctr" fontAlgn="b"/>
                      <a:r>
                        <a:rPr lang="en-GB" sz="600" u="none" strike="noStrike">
                          <a:solidFill>
                            <a:srgbClr val="FF0000"/>
                          </a:solidFill>
                          <a:effectLst/>
                        </a:rPr>
                        <a:t>          77,435.00 </a:t>
                      </a:r>
                      <a:endParaRPr lang="en-GB" sz="600" b="0" i="0" u="none" strike="noStrike">
                        <a:solidFill>
                          <a:srgbClr val="FF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77,43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ctr" fontAlgn="b"/>
                      <a:r>
                        <a:rPr lang="en-GB" sz="600" u="none" strike="noStrike">
                          <a:effectLst/>
                        </a:rPr>
                        <a:t>         38,717.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92.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1,305,364.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2,261,073.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44,2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9,044,291.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1,808,858.00 </a:t>
                      </a:r>
                      <a:endParaRPr lang="en-GB" sz="600" b="0" i="0" u="none" strike="noStrike">
                        <a:solidFill>
                          <a:srgbClr val="000000"/>
                        </a:solidFill>
                        <a:effectLst/>
                        <a:latin typeface="Arial" panose="020B0604020202020204" pitchFamily="34" charset="0"/>
                      </a:endParaRPr>
                    </a:p>
                  </a:txBody>
                  <a:tcPr marL="0" marR="0" marT="0" marB="0" anchor="b"/>
                </a:tc>
                <a:tc>
                  <a:txBody>
                    <a:bodyPr/>
                    <a:lstStyle/>
                    <a:p>
                      <a:pPr algn="l" fontAlgn="b"/>
                      <a:r>
                        <a:rPr lang="en-GB" sz="600" u="none" strike="noStrike">
                          <a:effectLst/>
                        </a:rPr>
                        <a:t> $     7,235,433.00 </a:t>
                      </a:r>
                      <a:endParaRPr lang="en-GB" sz="6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498064349"/>
                  </a:ext>
                </a:extLst>
              </a:tr>
            </a:tbl>
          </a:graphicData>
        </a:graphic>
      </p:graphicFrame>
      <p:sp>
        <p:nvSpPr>
          <p:cNvPr id="6" name="TextBox 5">
            <a:extLst>
              <a:ext uri="{FF2B5EF4-FFF2-40B4-BE49-F238E27FC236}">
                <a16:creationId xmlns:a16="http://schemas.microsoft.com/office/drawing/2014/main" id="{E27B92E4-B9B2-4FE2-822D-E15326354928}"/>
              </a:ext>
            </a:extLst>
          </p:cNvPr>
          <p:cNvSpPr txBox="1"/>
          <p:nvPr/>
        </p:nvSpPr>
        <p:spPr>
          <a:xfrm>
            <a:off x="1" y="5803641"/>
            <a:ext cx="12016828" cy="738664"/>
          </a:xfrm>
          <a:prstGeom prst="rect">
            <a:avLst/>
          </a:prstGeom>
          <a:solidFill>
            <a:schemeClr val="accent1">
              <a:lumMod val="50000"/>
            </a:schemeClr>
          </a:solidFill>
        </p:spPr>
        <p:txBody>
          <a:bodyPr wrap="square" lIns="91440" tIns="45720" rIns="91440" bIns="45720" rtlCol="0" anchor="t">
            <a:spAutoFit/>
          </a:bodyPr>
          <a:lstStyle/>
          <a:p>
            <a:r>
              <a:rPr lang="en-GB" sz="1400">
                <a:solidFill>
                  <a:schemeClr val="bg1"/>
                </a:solidFill>
                <a:ea typeface="+mn-lt"/>
                <a:cs typeface="+mn-lt"/>
              </a:rPr>
              <a:t>Suppose the Arctic ice will melt 50% by 2050 by our prediction, the Northern Sea Route will be passable throughout the year. Under this scenario, by 2040, 20% of total vessels between Europe and Asia will voyage via the Northern Sea Route and the number will increase to 50% by 2050. As a result, the remaining number of vessels which pass through the Thai Canal will be significantly reduced.  The IRR in this case is 0%, meaning the project is not going to profit financially.</a:t>
            </a:r>
            <a:endParaRPr lang="en-US" sz="1400">
              <a:solidFill>
                <a:schemeClr val="bg1"/>
              </a:solidFill>
            </a:endParaRPr>
          </a:p>
        </p:txBody>
      </p:sp>
    </p:spTree>
    <p:extLst>
      <p:ext uri="{BB962C8B-B14F-4D97-AF65-F5344CB8AC3E}">
        <p14:creationId xmlns:p14="http://schemas.microsoft.com/office/powerpoint/2010/main" val="2840091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sky, outdoor, cargo container, line&#10;&#10;Description automatically generated">
            <a:extLst>
              <a:ext uri="{FF2B5EF4-FFF2-40B4-BE49-F238E27FC236}">
                <a16:creationId xmlns:a16="http://schemas.microsoft.com/office/drawing/2014/main" id="{A1EDD8C2-EF12-492E-B427-F90016588AE6}"/>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4479" b="2"/>
          <a:stretch/>
        </p:blipFill>
        <p:spPr>
          <a:xfrm>
            <a:off x="2562726" y="1"/>
            <a:ext cx="9629274" cy="6857999"/>
          </a:xfrm>
          <a:prstGeom prst="rect">
            <a:avLst/>
          </a:prstGeom>
        </p:spPr>
      </p:pic>
      <p:sp>
        <p:nvSpPr>
          <p:cNvPr id="24" name="Freeform: Shape 12">
            <a:extLst>
              <a:ext uri="{FF2B5EF4-FFF2-40B4-BE49-F238E27FC236}">
                <a16:creationId xmlns:a16="http://schemas.microsoft.com/office/drawing/2014/main" id="{D928DD85-BB99-450D-A702-2683E0296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6820929"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Freeform: Shape 14">
            <a:extLst>
              <a:ext uri="{FF2B5EF4-FFF2-40B4-BE49-F238E27FC236}">
                <a16:creationId xmlns:a16="http://schemas.microsoft.com/office/drawing/2014/main" id="{240E5BD2-4019-4012-A1AA-628900E659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6012496"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2C9215F-08B3-4E40-8390-1DEB01B0F8D6}"/>
              </a:ext>
            </a:extLst>
          </p:cNvPr>
          <p:cNvSpPr txBox="1"/>
          <p:nvPr/>
        </p:nvSpPr>
        <p:spPr>
          <a:xfrm>
            <a:off x="804672" y="4042611"/>
            <a:ext cx="3879232" cy="2177215"/>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5400">
                <a:latin typeface="+mj-lt"/>
                <a:ea typeface="+mj-ea"/>
                <a:cs typeface="+mj-cs"/>
              </a:rPr>
              <a:t>Advice/</a:t>
            </a:r>
          </a:p>
          <a:p>
            <a:pPr>
              <a:lnSpc>
                <a:spcPct val="90000"/>
              </a:lnSpc>
              <a:spcBef>
                <a:spcPct val="0"/>
              </a:spcBef>
              <a:spcAft>
                <a:spcPts val="600"/>
              </a:spcAft>
            </a:pPr>
            <a:r>
              <a:rPr lang="en-US" sz="5400">
                <a:latin typeface="+mj-lt"/>
                <a:ea typeface="+mj-ea"/>
                <a:cs typeface="+mj-cs"/>
              </a:rPr>
              <a:t>Decision</a:t>
            </a:r>
          </a:p>
        </p:txBody>
      </p:sp>
      <p:sp>
        <p:nvSpPr>
          <p:cNvPr id="4" name="Foliennummernplatzhalter 3">
            <a:extLst>
              <a:ext uri="{FF2B5EF4-FFF2-40B4-BE49-F238E27FC236}">
                <a16:creationId xmlns:a16="http://schemas.microsoft.com/office/drawing/2014/main" id="{C7300D44-53D2-407B-BF30-C2D1D1F4CFE3}"/>
              </a:ext>
            </a:extLst>
          </p:cNvPr>
          <p:cNvSpPr>
            <a:spLocks noGrp="1"/>
          </p:cNvSpPr>
          <p:nvPr>
            <p:ph type="sldNum" sz="quarter" idx="12"/>
          </p:nvPr>
        </p:nvSpPr>
        <p:spPr/>
        <p:txBody>
          <a:bodyPr/>
          <a:lstStyle/>
          <a:p>
            <a:fld id="{4A0B9D2D-6490-410F-BAA1-A5DF4CF5DAF3}" type="slidenum">
              <a:rPr lang="en-GB" smtClean="0"/>
              <a:t>23</a:t>
            </a:fld>
            <a:endParaRPr lang="en-GB"/>
          </a:p>
        </p:txBody>
      </p:sp>
    </p:spTree>
    <p:extLst>
      <p:ext uri="{BB962C8B-B14F-4D97-AF65-F5344CB8AC3E}">
        <p14:creationId xmlns:p14="http://schemas.microsoft.com/office/powerpoint/2010/main" val="983890126"/>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46961D8-61BB-4898-A874-42A487CE975C}"/>
              </a:ext>
            </a:extLst>
          </p:cNvPr>
          <p:cNvSpPr/>
          <p:nvPr/>
        </p:nvSpPr>
        <p:spPr>
          <a:xfrm>
            <a:off x="915044" y="1347893"/>
            <a:ext cx="10365518" cy="45515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2000"/>
              <a:t>The Kra Canal project should </a:t>
            </a:r>
            <a:r>
              <a:rPr lang="en-US" sz="2000">
                <a:solidFill>
                  <a:schemeClr val="accent2">
                    <a:lumMod val="60000"/>
                    <a:lumOff val="40000"/>
                  </a:schemeClr>
                </a:solidFill>
              </a:rPr>
              <a:t>NOT</a:t>
            </a:r>
            <a:r>
              <a:rPr lang="en-US" sz="2000"/>
              <a:t> be implemented, based on the following reasons:</a:t>
            </a:r>
            <a:endParaRPr lang="en-US" sz="2000">
              <a:cs typeface="Calibri"/>
            </a:endParaRPr>
          </a:p>
          <a:p>
            <a:endParaRPr lang="en-US" sz="2000">
              <a:cs typeface="Calibri"/>
            </a:endParaRPr>
          </a:p>
          <a:p>
            <a:pPr marL="285750" indent="-285750">
              <a:buFont typeface="Arial"/>
              <a:buChar char="•"/>
            </a:pPr>
            <a:r>
              <a:rPr lang="en-US" sz="2000">
                <a:solidFill>
                  <a:schemeClr val="accent2">
                    <a:lumMod val="60000"/>
                    <a:lumOff val="40000"/>
                  </a:schemeClr>
                </a:solidFill>
                <a:cs typeface="Calibri"/>
              </a:rPr>
              <a:t>Complex geopolitical factors </a:t>
            </a:r>
            <a:r>
              <a:rPr lang="en-US" sz="2000">
                <a:cs typeface="Calibri"/>
              </a:rPr>
              <a:t>impede the feasibility of Kra Canal project</a:t>
            </a:r>
          </a:p>
          <a:p>
            <a:pPr marL="285750" indent="-285750">
              <a:buFont typeface="Arial"/>
              <a:buChar char="•"/>
            </a:pPr>
            <a:r>
              <a:rPr lang="en-US" sz="2000">
                <a:ea typeface="+mn-lt"/>
                <a:cs typeface="+mn-lt"/>
              </a:rPr>
              <a:t>Kra Canal creates a physical boundary between the Thai ethnic majority and the Malay ethnic minority which could fuel the already strained </a:t>
            </a:r>
            <a:r>
              <a:rPr lang="en-US" sz="2000">
                <a:solidFill>
                  <a:schemeClr val="accent2">
                    <a:lumMod val="60000"/>
                    <a:lumOff val="40000"/>
                  </a:schemeClr>
                </a:solidFill>
                <a:ea typeface="+mn-lt"/>
                <a:cs typeface="+mn-lt"/>
              </a:rPr>
              <a:t>racial conflicts </a:t>
            </a:r>
            <a:r>
              <a:rPr lang="en-US" sz="2000">
                <a:ea typeface="+mn-lt"/>
                <a:cs typeface="+mn-lt"/>
              </a:rPr>
              <a:t>in southern Thailand</a:t>
            </a:r>
          </a:p>
          <a:p>
            <a:pPr marL="285750" indent="-285750">
              <a:buFont typeface="Arial"/>
              <a:buChar char="•"/>
            </a:pPr>
            <a:r>
              <a:rPr lang="en-US" sz="2000">
                <a:ea typeface="+mn-lt"/>
                <a:cs typeface="+mn-lt"/>
              </a:rPr>
              <a:t>Even though Thailand’s economy could potentially benefit from the project, there are still many </a:t>
            </a:r>
            <a:r>
              <a:rPr lang="en-US" sz="2000">
                <a:solidFill>
                  <a:schemeClr val="accent2">
                    <a:lumMod val="60000"/>
                    <a:lumOff val="40000"/>
                  </a:schemeClr>
                </a:solidFill>
                <a:ea typeface="+mn-lt"/>
                <a:cs typeface="+mn-lt"/>
              </a:rPr>
              <a:t>risks and uncertainties</a:t>
            </a:r>
            <a:r>
              <a:rPr lang="en-US" sz="2000">
                <a:ea typeface="+mn-lt"/>
                <a:cs typeface="+mn-lt"/>
              </a:rPr>
              <a:t> to be managed</a:t>
            </a:r>
          </a:p>
          <a:p>
            <a:pPr marL="285750" indent="-285750">
              <a:buFont typeface="Arial"/>
              <a:buChar char="•"/>
            </a:pPr>
            <a:r>
              <a:rPr lang="en-US" sz="2000">
                <a:solidFill>
                  <a:schemeClr val="accent2">
                    <a:lumMod val="60000"/>
                    <a:lumOff val="40000"/>
                  </a:schemeClr>
                </a:solidFill>
                <a:ea typeface="+mn-lt"/>
                <a:cs typeface="+mn-lt"/>
              </a:rPr>
              <a:t>The melting of Arctic sea ice </a:t>
            </a:r>
            <a:r>
              <a:rPr lang="en-US" sz="2000">
                <a:ea typeface="+mn-lt"/>
                <a:cs typeface="+mn-lt"/>
              </a:rPr>
              <a:t>makes it possible for a much shorter and cheaper route -- Northern Sea Route</a:t>
            </a:r>
            <a:endParaRPr lang="en-US">
              <a:cs typeface="Calibri" panose="020F0502020204030204"/>
            </a:endParaRPr>
          </a:p>
          <a:p>
            <a:pPr marL="285750" indent="-285750">
              <a:buFont typeface="Arial"/>
              <a:buChar char="•"/>
            </a:pPr>
            <a:r>
              <a:rPr lang="en-US" sz="2000">
                <a:ea typeface="+mn-lt"/>
                <a:cs typeface="+mn-lt"/>
              </a:rPr>
              <a:t>The Kra Canal project has a very </a:t>
            </a:r>
            <a:r>
              <a:rPr lang="en-US" sz="2000">
                <a:solidFill>
                  <a:schemeClr val="accent2">
                    <a:lumMod val="60000"/>
                    <a:lumOff val="40000"/>
                  </a:schemeClr>
                </a:solidFill>
                <a:ea typeface="+mn-lt"/>
                <a:cs typeface="+mn-lt"/>
              </a:rPr>
              <a:t>low chance of profiting</a:t>
            </a:r>
          </a:p>
          <a:p>
            <a:pPr marL="285750" indent="-285750">
              <a:buFont typeface="Arial"/>
              <a:buChar char="•"/>
            </a:pPr>
            <a:endParaRPr lang="en-US" sz="2000">
              <a:ea typeface="+mn-lt"/>
              <a:cs typeface="+mn-lt"/>
            </a:endParaRPr>
          </a:p>
          <a:p>
            <a:pPr algn="ctr"/>
            <a:endParaRPr lang="en-US">
              <a:cs typeface="Calibri"/>
            </a:endParaRPr>
          </a:p>
        </p:txBody>
      </p:sp>
      <p:sp>
        <p:nvSpPr>
          <p:cNvPr id="29" name="Rectangle 28">
            <a:extLst>
              <a:ext uri="{FF2B5EF4-FFF2-40B4-BE49-F238E27FC236}">
                <a16:creationId xmlns:a16="http://schemas.microsoft.com/office/drawing/2014/main" id="{8ABC90B4-DA1C-42D4-A392-AAEFF2D6CF53}"/>
              </a:ext>
            </a:extLst>
          </p:cNvPr>
          <p:cNvSpPr/>
          <p:nvPr/>
        </p:nvSpPr>
        <p:spPr>
          <a:xfrm>
            <a:off x="5258970" y="105020"/>
            <a:ext cx="2138526" cy="9421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de-DE">
                <a:cs typeface="Calibri"/>
              </a:rPr>
              <a:t>Conclusion</a:t>
            </a:r>
          </a:p>
        </p:txBody>
      </p:sp>
      <p:sp>
        <p:nvSpPr>
          <p:cNvPr id="4" name="Foliennummernplatzhalter 3">
            <a:extLst>
              <a:ext uri="{FF2B5EF4-FFF2-40B4-BE49-F238E27FC236}">
                <a16:creationId xmlns:a16="http://schemas.microsoft.com/office/drawing/2014/main" id="{5CF9FC1C-9D1C-46F5-A514-CA9239D129F1}"/>
              </a:ext>
            </a:extLst>
          </p:cNvPr>
          <p:cNvSpPr>
            <a:spLocks noGrp="1"/>
          </p:cNvSpPr>
          <p:nvPr>
            <p:ph type="sldNum" sz="quarter" idx="12"/>
          </p:nvPr>
        </p:nvSpPr>
        <p:spPr/>
        <p:txBody>
          <a:bodyPr/>
          <a:lstStyle/>
          <a:p>
            <a:fld id="{4A0B9D2D-6490-410F-BAA1-A5DF4CF5DAF3}" type="slidenum">
              <a:rPr lang="en-GB" smtClean="0"/>
              <a:t>24</a:t>
            </a:fld>
            <a:endParaRPr lang="en-GB"/>
          </a:p>
        </p:txBody>
      </p:sp>
    </p:spTree>
    <p:extLst>
      <p:ext uri="{BB962C8B-B14F-4D97-AF65-F5344CB8AC3E}">
        <p14:creationId xmlns:p14="http://schemas.microsoft.com/office/powerpoint/2010/main" val="597821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text, stationary&#10;&#10;Description automatically generated">
            <a:extLst>
              <a:ext uri="{FF2B5EF4-FFF2-40B4-BE49-F238E27FC236}">
                <a16:creationId xmlns:a16="http://schemas.microsoft.com/office/drawing/2014/main" id="{183037AB-D1FD-4377-BB73-85D8EDA56D67}"/>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a:stretch/>
        </p:blipFill>
        <p:spPr>
          <a:xfrm>
            <a:off x="-1" y="10"/>
            <a:ext cx="12192001" cy="6857990"/>
          </a:xfrm>
          <a:prstGeom prst="rect">
            <a:avLst/>
          </a:prstGeom>
        </p:spPr>
      </p:pic>
      <p:sp>
        <p:nvSpPr>
          <p:cNvPr id="2" name="TextBox 1">
            <a:extLst>
              <a:ext uri="{FF2B5EF4-FFF2-40B4-BE49-F238E27FC236}">
                <a16:creationId xmlns:a16="http://schemas.microsoft.com/office/drawing/2014/main" id="{96C5B25A-AA28-46E7-B3D7-78B4C74A3659}"/>
              </a:ext>
            </a:extLst>
          </p:cNvPr>
          <p:cNvSpPr txBox="1"/>
          <p:nvPr/>
        </p:nvSpPr>
        <p:spPr>
          <a:xfrm>
            <a:off x="1524000" y="1122362"/>
            <a:ext cx="9144000" cy="2900518"/>
          </a:xfrm>
          <a:prstGeom prst="rect">
            <a:avLst/>
          </a:prstGeom>
        </p:spPr>
        <p:txBody>
          <a:bodyPr vert="horz" lIns="91440" tIns="45720" rIns="91440" bIns="45720" rtlCol="0" anchor="b">
            <a:normAutofit/>
          </a:bodyPr>
          <a:lstStyle/>
          <a:p>
            <a:pPr algn="ctr">
              <a:lnSpc>
                <a:spcPct val="90000"/>
              </a:lnSpc>
              <a:spcBef>
                <a:spcPct val="0"/>
              </a:spcBef>
              <a:spcAft>
                <a:spcPts val="600"/>
              </a:spcAft>
            </a:pPr>
            <a:r>
              <a:rPr lang="en-US" sz="6000">
                <a:solidFill>
                  <a:srgbClr val="FFFFFF"/>
                </a:solidFill>
                <a:latin typeface="+mj-lt"/>
                <a:ea typeface="+mj-ea"/>
                <a:cs typeface="+mj-cs"/>
              </a:rPr>
              <a:t>Thanks for your attention.</a:t>
            </a:r>
          </a:p>
        </p:txBody>
      </p:sp>
      <p:sp>
        <p:nvSpPr>
          <p:cNvPr id="6" name="Foliennummernplatzhalter 5">
            <a:extLst>
              <a:ext uri="{FF2B5EF4-FFF2-40B4-BE49-F238E27FC236}">
                <a16:creationId xmlns:a16="http://schemas.microsoft.com/office/drawing/2014/main" id="{749B02E8-7633-4C3A-93F3-4CA21583D9B3}"/>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defRPr/>
            </a:pPr>
            <a:fld id="{4A0B9D2D-6490-410F-BAA1-A5DF4CF5DAF3}" type="slidenum">
              <a:rPr lang="en-US">
                <a:solidFill>
                  <a:srgbClr val="FFFFFF"/>
                </a:solidFill>
                <a:latin typeface="Calibri" panose="020F0502020204030204"/>
              </a:rPr>
              <a:pPr>
                <a:spcAft>
                  <a:spcPts val="600"/>
                </a:spcAft>
                <a:defRPr/>
              </a:pPr>
              <a:t>25</a:t>
            </a:fld>
            <a:endParaRPr lang="en-US">
              <a:solidFill>
                <a:srgbClr val="FFFFFF"/>
              </a:solidFill>
              <a:latin typeface="Calibri" panose="020F0502020204030204"/>
            </a:endParaRPr>
          </a:p>
        </p:txBody>
      </p:sp>
    </p:spTree>
    <p:extLst>
      <p:ext uri="{BB962C8B-B14F-4D97-AF65-F5344CB8AC3E}">
        <p14:creationId xmlns:p14="http://schemas.microsoft.com/office/powerpoint/2010/main" val="439503566"/>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Administrator.MICROSO-BQCPAHA\Desktop\电脑.png">
            <a:extLst>
              <a:ext uri="{FF2B5EF4-FFF2-40B4-BE49-F238E27FC236}">
                <a16:creationId xmlns:a16="http://schemas.microsoft.com/office/drawing/2014/main" id="{6954C361-3C6C-44EF-A701-BBE9D044C2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733" b="3583"/>
          <a:stretch/>
        </p:blipFill>
        <p:spPr bwMode="auto">
          <a:xfrm>
            <a:off x="699207" y="1350466"/>
            <a:ext cx="10904529" cy="552598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Online Media 5" title="Thailand's Plans for a $28BN Canal Across Itself">
            <a:hlinkClick r:id="" action="ppaction://media"/>
            <a:extLst>
              <a:ext uri="{FF2B5EF4-FFF2-40B4-BE49-F238E27FC236}">
                <a16:creationId xmlns:a16="http://schemas.microsoft.com/office/drawing/2014/main" id="{DA9E6873-3280-4EFC-A212-A425C1367555}"/>
              </a:ext>
            </a:extLst>
          </p:cNvPr>
          <p:cNvPicPr>
            <a:picLocks noRot="1" noChangeAspect="1"/>
          </p:cNvPicPr>
          <p:nvPr>
            <a:videoFile r:link="rId1"/>
          </p:nvPr>
        </p:nvPicPr>
        <p:blipFill>
          <a:blip r:embed="rId5"/>
          <a:stretch>
            <a:fillRect/>
          </a:stretch>
        </p:blipFill>
        <p:spPr>
          <a:xfrm>
            <a:off x="1296146" y="1723856"/>
            <a:ext cx="9752111" cy="3641014"/>
          </a:xfrm>
          <a:prstGeom prst="rect">
            <a:avLst/>
          </a:prstGeom>
        </p:spPr>
      </p:pic>
      <p:pic>
        <p:nvPicPr>
          <p:cNvPr id="15" name="Picture 14" descr="A high angle view of a port&#10;&#10;Description automatically generated with medium confidence">
            <a:extLst>
              <a:ext uri="{FF2B5EF4-FFF2-40B4-BE49-F238E27FC236}">
                <a16:creationId xmlns:a16="http://schemas.microsoft.com/office/drawing/2014/main" id="{923FD818-833D-4430-8401-F51434FEF3ED}"/>
              </a:ext>
            </a:extLst>
          </p:cNvPr>
          <p:cNvPicPr>
            <a:picLocks noChangeAspect="1"/>
          </p:cNvPicPr>
          <p:nvPr/>
        </p:nvPicPr>
        <p:blipFill rotWithShape="1">
          <a:blip r:embed="rId6">
            <a:extLst>
              <a:ext uri="{28A0092B-C50C-407E-A947-70E740481C1C}">
                <a14:useLocalDpi xmlns:a14="http://schemas.microsoft.com/office/drawing/2010/main" val="0"/>
              </a:ext>
            </a:extLst>
          </a:blip>
          <a:srcRect t="66322" r="2848" b="15290"/>
          <a:stretch/>
        </p:blipFill>
        <p:spPr>
          <a:xfrm>
            <a:off x="0" y="-1"/>
            <a:ext cx="12192000" cy="1537162"/>
          </a:xfrm>
          <a:prstGeom prst="rect">
            <a:avLst/>
          </a:prstGeom>
        </p:spPr>
      </p:pic>
      <p:sp>
        <p:nvSpPr>
          <p:cNvPr id="17" name="Rectangle 16">
            <a:extLst>
              <a:ext uri="{FF2B5EF4-FFF2-40B4-BE49-F238E27FC236}">
                <a16:creationId xmlns:a16="http://schemas.microsoft.com/office/drawing/2014/main" id="{688CFC5C-41C5-424B-ABDE-E94206D4CCC3}"/>
              </a:ext>
            </a:extLst>
          </p:cNvPr>
          <p:cNvSpPr/>
          <p:nvPr/>
        </p:nvSpPr>
        <p:spPr>
          <a:xfrm>
            <a:off x="5009747" y="186694"/>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en-CA"/>
              <a:t>Kra Canal Explained </a:t>
            </a:r>
            <a:endParaRPr lang="en-CA">
              <a:cs typeface="Calibri"/>
            </a:endParaRPr>
          </a:p>
        </p:txBody>
      </p:sp>
      <p:sp>
        <p:nvSpPr>
          <p:cNvPr id="5" name="Foliennummernplatzhalter 4">
            <a:extLst>
              <a:ext uri="{FF2B5EF4-FFF2-40B4-BE49-F238E27FC236}">
                <a16:creationId xmlns:a16="http://schemas.microsoft.com/office/drawing/2014/main" id="{53D78751-C208-4516-86EA-AB430426CDD5}"/>
              </a:ext>
            </a:extLst>
          </p:cNvPr>
          <p:cNvSpPr>
            <a:spLocks noGrp="1"/>
          </p:cNvSpPr>
          <p:nvPr>
            <p:ph type="sldNum" sz="quarter" idx="12"/>
          </p:nvPr>
        </p:nvSpPr>
        <p:spPr/>
        <p:txBody>
          <a:bodyPr/>
          <a:lstStyle/>
          <a:p>
            <a:fld id="{4A0B9D2D-6490-410F-BAA1-A5DF4CF5DAF3}" type="slidenum">
              <a:rPr lang="en-GB" smtClean="0"/>
              <a:t>3</a:t>
            </a:fld>
            <a:endParaRPr lang="en-GB"/>
          </a:p>
        </p:txBody>
      </p:sp>
    </p:spTree>
    <p:extLst>
      <p:ext uri="{BB962C8B-B14F-4D97-AF65-F5344CB8AC3E}">
        <p14:creationId xmlns:p14="http://schemas.microsoft.com/office/powerpoint/2010/main" val="3035983278"/>
      </p:ext>
    </p:extLst>
  </p:cSld>
  <p:clrMapOvr>
    <a:masterClrMapping/>
  </p:clrMapOvr>
  <p:timing>
    <p:tnLst>
      <p:par>
        <p:cTn id="1" dur="indefinite" restart="never" nodeType="tmRoot">
          <p:childTnLst>
            <p:video>
              <p:cMediaNode vol="80000">
                <p:cTn id="2" fill="hold" display="0">
                  <p:stCondLst>
                    <p:cond delay="indefinite"/>
                  </p:stCondLst>
                </p:cTn>
                <p:tgtEl>
                  <p:spTgt spid="6"/>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high angle view of a port&#10;&#10;Description automatically generated with medium confidence">
            <a:extLst>
              <a:ext uri="{FF2B5EF4-FFF2-40B4-BE49-F238E27FC236}">
                <a16:creationId xmlns:a16="http://schemas.microsoft.com/office/drawing/2014/main" id="{923FD818-833D-4430-8401-F51434FEF3ED}"/>
              </a:ext>
            </a:extLst>
          </p:cNvPr>
          <p:cNvPicPr>
            <a:picLocks noChangeAspect="1"/>
          </p:cNvPicPr>
          <p:nvPr/>
        </p:nvPicPr>
        <p:blipFill rotWithShape="1">
          <a:blip r:embed="rId2">
            <a:extLst>
              <a:ext uri="{28A0092B-C50C-407E-A947-70E740481C1C}">
                <a14:useLocalDpi xmlns:a14="http://schemas.microsoft.com/office/drawing/2010/main" val="0"/>
              </a:ext>
            </a:extLst>
          </a:blip>
          <a:srcRect t="66322" r="2848" b="15290"/>
          <a:stretch/>
        </p:blipFill>
        <p:spPr>
          <a:xfrm>
            <a:off x="0" y="-1"/>
            <a:ext cx="12192000" cy="1537162"/>
          </a:xfrm>
          <a:prstGeom prst="rect">
            <a:avLst/>
          </a:prstGeom>
        </p:spPr>
      </p:pic>
      <p:sp>
        <p:nvSpPr>
          <p:cNvPr id="16" name="Rectangle 15">
            <a:extLst>
              <a:ext uri="{FF2B5EF4-FFF2-40B4-BE49-F238E27FC236}">
                <a16:creationId xmlns:a16="http://schemas.microsoft.com/office/drawing/2014/main" id="{7B630D99-5317-410F-9E2A-F544221C8E1A}"/>
              </a:ext>
            </a:extLst>
          </p:cNvPr>
          <p:cNvSpPr/>
          <p:nvPr/>
        </p:nvSpPr>
        <p:spPr>
          <a:xfrm>
            <a:off x="5651772" y="170971"/>
            <a:ext cx="2324910" cy="11637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194"/>
            <a:r>
              <a:rPr lang="en-CA"/>
              <a:t>Background of </a:t>
            </a:r>
          </a:p>
          <a:p>
            <a:pPr algn="ctr" defTabSz="914194"/>
            <a:r>
              <a:rPr lang="en-CA"/>
              <a:t>Kra Canal Project</a:t>
            </a:r>
            <a:endParaRPr lang="en-CA">
              <a:cs typeface="Calibri"/>
            </a:endParaRPr>
          </a:p>
        </p:txBody>
      </p:sp>
      <p:pic>
        <p:nvPicPr>
          <p:cNvPr id="7" name="Picture 6" descr="Map&#10;&#10;Description automatically generated">
            <a:extLst>
              <a:ext uri="{FF2B5EF4-FFF2-40B4-BE49-F238E27FC236}">
                <a16:creationId xmlns:a16="http://schemas.microsoft.com/office/drawing/2014/main" id="{A5A457B4-22ED-430C-AAF3-62DEC2689B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651" y="1772418"/>
            <a:ext cx="6092558" cy="4666386"/>
          </a:xfrm>
          <a:prstGeom prst="rect">
            <a:avLst/>
          </a:prstGeom>
        </p:spPr>
      </p:pic>
      <p:cxnSp>
        <p:nvCxnSpPr>
          <p:cNvPr id="3" name="Straight Connector 2">
            <a:extLst>
              <a:ext uri="{FF2B5EF4-FFF2-40B4-BE49-F238E27FC236}">
                <a16:creationId xmlns:a16="http://schemas.microsoft.com/office/drawing/2014/main" id="{063207E5-E110-4D1C-9FC3-630B6E807010}"/>
              </a:ext>
            </a:extLst>
          </p:cNvPr>
          <p:cNvCxnSpPr/>
          <p:nvPr/>
        </p:nvCxnSpPr>
        <p:spPr>
          <a:xfrm>
            <a:off x="6828817" y="1537161"/>
            <a:ext cx="0" cy="53208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 name="Gruppieren 1">
            <a:extLst>
              <a:ext uri="{FF2B5EF4-FFF2-40B4-BE49-F238E27FC236}">
                <a16:creationId xmlns:a16="http://schemas.microsoft.com/office/drawing/2014/main" id="{820DB3A4-7B75-4432-B5F3-7D201201BFB7}"/>
              </a:ext>
            </a:extLst>
          </p:cNvPr>
          <p:cNvGrpSpPr/>
          <p:nvPr/>
        </p:nvGrpSpPr>
        <p:grpSpPr>
          <a:xfrm>
            <a:off x="7490300" y="2533952"/>
            <a:ext cx="4701700" cy="2765367"/>
            <a:chOff x="7490300" y="1794212"/>
            <a:chExt cx="4701700" cy="2765367"/>
          </a:xfrm>
        </p:grpSpPr>
        <p:sp>
          <p:nvSpPr>
            <p:cNvPr id="5" name="TextBox 4">
              <a:extLst>
                <a:ext uri="{FF2B5EF4-FFF2-40B4-BE49-F238E27FC236}">
                  <a16:creationId xmlns:a16="http://schemas.microsoft.com/office/drawing/2014/main" id="{E6C5A9CF-5976-4A87-A1D6-BFF741EA3B3D}"/>
                </a:ext>
              </a:extLst>
            </p:cNvPr>
            <p:cNvSpPr txBox="1"/>
            <p:nvPr/>
          </p:nvSpPr>
          <p:spPr>
            <a:xfrm>
              <a:off x="7490300" y="1794212"/>
              <a:ext cx="4701700" cy="461665"/>
            </a:xfrm>
            <a:prstGeom prst="rect">
              <a:avLst/>
            </a:prstGeom>
            <a:noFill/>
          </p:spPr>
          <p:txBody>
            <a:bodyPr wrap="square" rtlCol="0">
              <a:spAutoFit/>
            </a:bodyPr>
            <a:lstStyle/>
            <a:p>
              <a:pPr marL="342900" indent="-342900">
                <a:buFont typeface="Arial" panose="020B0604020202020204" pitchFamily="34" charset="0"/>
                <a:buChar char="•"/>
              </a:pPr>
              <a:r>
                <a:rPr lang="en-US" sz="2400"/>
                <a:t>Estimated cost: 28 Billion USD</a:t>
              </a:r>
              <a:endParaRPr lang="en-GB" sz="2400"/>
            </a:p>
          </p:txBody>
        </p:sp>
        <p:sp>
          <p:nvSpPr>
            <p:cNvPr id="12" name="TextBox 11">
              <a:extLst>
                <a:ext uri="{FF2B5EF4-FFF2-40B4-BE49-F238E27FC236}">
                  <a16:creationId xmlns:a16="http://schemas.microsoft.com/office/drawing/2014/main" id="{61A27681-F815-48B9-9A9A-5A841B6F593D}"/>
                </a:ext>
              </a:extLst>
            </p:cNvPr>
            <p:cNvSpPr txBox="1"/>
            <p:nvPr/>
          </p:nvSpPr>
          <p:spPr>
            <a:xfrm>
              <a:off x="7490300" y="2761397"/>
              <a:ext cx="4451047" cy="830997"/>
            </a:xfrm>
            <a:prstGeom prst="rect">
              <a:avLst/>
            </a:prstGeom>
            <a:noFill/>
          </p:spPr>
          <p:txBody>
            <a:bodyPr wrap="square" lIns="91440" tIns="45720" rIns="91440" bIns="45720" rtlCol="0" anchor="t">
              <a:spAutoFit/>
            </a:bodyPr>
            <a:lstStyle>
              <a:defPPr>
                <a:defRPr lang="en-US"/>
              </a:defPPr>
              <a:lvl1pPr indent="0">
                <a:buNone/>
                <a:defRPr sz="2400"/>
              </a:lvl1pPr>
            </a:lstStyle>
            <a:p>
              <a:pPr marL="342900" indent="-342900">
                <a:buFont typeface="Arial" panose="020B0604020202020204" pitchFamily="34" charset="0"/>
                <a:buChar char="•"/>
              </a:pPr>
              <a:r>
                <a:rPr lang="en-AU"/>
                <a:t>Estimated construction period : 10 years</a:t>
              </a:r>
            </a:p>
          </p:txBody>
        </p:sp>
        <p:sp>
          <p:nvSpPr>
            <p:cNvPr id="13" name="TextBox 12">
              <a:extLst>
                <a:ext uri="{FF2B5EF4-FFF2-40B4-BE49-F238E27FC236}">
                  <a16:creationId xmlns:a16="http://schemas.microsoft.com/office/drawing/2014/main" id="{64AA3AAF-CF52-4C62-B10F-9B4FBF0E2EC1}"/>
                </a:ext>
              </a:extLst>
            </p:cNvPr>
            <p:cNvSpPr txBox="1"/>
            <p:nvPr/>
          </p:nvSpPr>
          <p:spPr>
            <a:xfrm>
              <a:off x="7490300" y="3728582"/>
              <a:ext cx="4451047" cy="830997"/>
            </a:xfrm>
            <a:prstGeom prst="rect">
              <a:avLst/>
            </a:prstGeom>
            <a:noFill/>
          </p:spPr>
          <p:txBody>
            <a:bodyPr wrap="square" lIns="91440" tIns="45720" rIns="91440" bIns="45720" rtlCol="0" anchor="t">
              <a:spAutoFit/>
            </a:bodyPr>
            <a:lstStyle>
              <a:defPPr>
                <a:defRPr lang="en-US"/>
              </a:defPPr>
              <a:lvl1pPr indent="0">
                <a:buNone/>
                <a:defRPr sz="2400"/>
              </a:lvl1pPr>
            </a:lstStyle>
            <a:p>
              <a:pPr marL="342900" indent="-342900">
                <a:buFont typeface="Arial" panose="020B0604020202020204" pitchFamily="34" charset="0"/>
                <a:buChar char="•"/>
              </a:pPr>
              <a:r>
                <a:rPr lang="en-AU"/>
                <a:t>Main competitor: Strait of Malacca &amp; Northern </a:t>
              </a:r>
              <a:r>
                <a:rPr lang="en-US"/>
                <a:t>Sea Route</a:t>
              </a:r>
              <a:r>
                <a:rPr lang="de-DE"/>
                <a:t> </a:t>
              </a:r>
              <a:endParaRPr lang="en-GB"/>
            </a:p>
          </p:txBody>
        </p:sp>
      </p:grpSp>
      <p:sp>
        <p:nvSpPr>
          <p:cNvPr id="8" name="Foliennummernplatzhalter 7">
            <a:extLst>
              <a:ext uri="{FF2B5EF4-FFF2-40B4-BE49-F238E27FC236}">
                <a16:creationId xmlns:a16="http://schemas.microsoft.com/office/drawing/2014/main" id="{CE78DD42-066A-4ED0-AD8D-C7DBFAE651DE}"/>
              </a:ext>
            </a:extLst>
          </p:cNvPr>
          <p:cNvSpPr>
            <a:spLocks noGrp="1"/>
          </p:cNvSpPr>
          <p:nvPr>
            <p:ph type="sldNum" sz="quarter" idx="12"/>
          </p:nvPr>
        </p:nvSpPr>
        <p:spPr/>
        <p:txBody>
          <a:bodyPr/>
          <a:lstStyle/>
          <a:p>
            <a:fld id="{4A0B9D2D-6490-410F-BAA1-A5DF4CF5DAF3}" type="slidenum">
              <a:rPr lang="en-GB" smtClean="0"/>
              <a:t>4</a:t>
            </a:fld>
            <a:endParaRPr lang="en-GB"/>
          </a:p>
        </p:txBody>
      </p:sp>
    </p:spTree>
    <p:extLst>
      <p:ext uri="{BB962C8B-B14F-4D97-AF65-F5344CB8AC3E}">
        <p14:creationId xmlns:p14="http://schemas.microsoft.com/office/powerpoint/2010/main" val="942637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E119A4B-1B88-E846-8BD5-010A0A2B64D7}"/>
              </a:ext>
            </a:extLst>
          </p:cNvPr>
          <p:cNvGrpSpPr/>
          <p:nvPr/>
        </p:nvGrpSpPr>
        <p:grpSpPr>
          <a:xfrm>
            <a:off x="-1588" y="1038225"/>
            <a:ext cx="12197865" cy="4951836"/>
            <a:chOff x="-3175" y="2076449"/>
            <a:chExt cx="24395642" cy="9903671"/>
          </a:xfrm>
        </p:grpSpPr>
        <p:sp>
          <p:nvSpPr>
            <p:cNvPr id="489" name="PESTLE Analysis Template"/>
            <p:cNvSpPr/>
            <p:nvPr/>
          </p:nvSpPr>
          <p:spPr>
            <a:xfrm>
              <a:off x="3278767" y="2697691"/>
              <a:ext cx="7480026" cy="133369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lvl1pPr algn="l">
                <a:defRPr sz="6000" b="0">
                  <a:solidFill>
                    <a:srgbClr val="1D1C21"/>
                  </a:solidFill>
                  <a:latin typeface="+mn-lt"/>
                  <a:ea typeface="+mn-ea"/>
                  <a:cs typeface="+mn-cs"/>
                  <a:sym typeface="DM Sans Bold"/>
                </a:defRPr>
              </a:lvl1pPr>
            </a:lstStyle>
            <a:p>
              <a:pPr defTabSz="457200"/>
              <a:r>
                <a:rPr sz="4000">
                  <a:solidFill>
                    <a:schemeClr val="bg1"/>
                  </a:solidFill>
                  <a:latin typeface="DM Sans Medium"/>
                  <a:sym typeface="DM Sans Medium"/>
                </a:rPr>
                <a:t>PESTLE Analysis</a:t>
              </a:r>
            </a:p>
          </p:txBody>
        </p:sp>
        <p:grpSp>
          <p:nvGrpSpPr>
            <p:cNvPr id="511" name="Group"/>
            <p:cNvGrpSpPr/>
            <p:nvPr/>
          </p:nvGrpSpPr>
          <p:grpSpPr>
            <a:xfrm>
              <a:off x="-3175" y="2076449"/>
              <a:ext cx="24395642" cy="9903671"/>
              <a:chOff x="0" y="0"/>
              <a:chExt cx="24395642" cy="9903671"/>
            </a:xfrm>
          </p:grpSpPr>
          <p:sp>
            <p:nvSpPr>
              <p:cNvPr id="492" name="Shape"/>
              <p:cNvSpPr/>
              <p:nvPr/>
            </p:nvSpPr>
            <p:spPr>
              <a:xfrm>
                <a:off x="0" y="9329340"/>
                <a:ext cx="11522472" cy="5742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587" y="0"/>
                    </a:lnTo>
                    <a:lnTo>
                      <a:pt x="0" y="0"/>
                    </a:lnTo>
                    <a:close/>
                  </a:path>
                </a:pathLst>
              </a:custGeom>
              <a:solidFill>
                <a:schemeClr val="accent5"/>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3" name="Shape"/>
              <p:cNvSpPr/>
              <p:nvPr/>
            </p:nvSpPr>
            <p:spPr>
              <a:xfrm>
                <a:off x="10344165" y="9329557"/>
                <a:ext cx="1237354" cy="5741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4" name="Shape"/>
              <p:cNvSpPr/>
              <p:nvPr/>
            </p:nvSpPr>
            <p:spPr>
              <a:xfrm>
                <a:off x="10510187" y="7773619"/>
                <a:ext cx="3018719" cy="2126980"/>
              </a:xfrm>
              <a:custGeom>
                <a:avLst/>
                <a:gdLst/>
                <a:ahLst/>
                <a:cxnLst>
                  <a:cxn ang="0">
                    <a:pos x="wd2" y="hd2"/>
                  </a:cxn>
                  <a:cxn ang="5400000">
                    <a:pos x="wd2" y="hd2"/>
                  </a:cxn>
                  <a:cxn ang="10800000">
                    <a:pos x="wd2" y="hd2"/>
                  </a:cxn>
                  <a:cxn ang="16200000">
                    <a:pos x="wd2" y="hd2"/>
                  </a:cxn>
                </a:cxnLst>
                <a:rect l="0" t="0" r="r" b="b"/>
                <a:pathLst>
                  <a:path w="21477" h="21053" extrusionOk="0">
                    <a:moveTo>
                      <a:pt x="7441" y="0"/>
                    </a:moveTo>
                    <a:cubicBezTo>
                      <a:pt x="3403" y="41"/>
                      <a:pt x="114" y="4525"/>
                      <a:pt x="3" y="10141"/>
                    </a:cubicBezTo>
                    <a:cubicBezTo>
                      <a:pt x="-123" y="16506"/>
                      <a:pt x="3770" y="21600"/>
                      <a:pt x="8321" y="21006"/>
                    </a:cubicBezTo>
                    <a:cubicBezTo>
                      <a:pt x="12460" y="20465"/>
                      <a:pt x="15483" y="15335"/>
                      <a:pt x="15136" y="9549"/>
                    </a:cubicBezTo>
                    <a:cubicBezTo>
                      <a:pt x="15054" y="8194"/>
                      <a:pt x="14771" y="6877"/>
                      <a:pt x="14305" y="5683"/>
                    </a:cubicBezTo>
                    <a:lnTo>
                      <a:pt x="21477" y="5683"/>
                    </a:lnTo>
                    <a:lnTo>
                      <a:pt x="20980" y="0"/>
                    </a:lnTo>
                    <a:lnTo>
                      <a:pt x="7441" y="0"/>
                    </a:lnTo>
                    <a:close/>
                    <a:moveTo>
                      <a:pt x="7589" y="5631"/>
                    </a:moveTo>
                    <a:cubicBezTo>
                      <a:pt x="8489" y="5631"/>
                      <a:pt x="9388" y="6110"/>
                      <a:pt x="10074" y="7065"/>
                    </a:cubicBezTo>
                    <a:cubicBezTo>
                      <a:pt x="11448" y="8976"/>
                      <a:pt x="11448" y="12073"/>
                      <a:pt x="10074" y="13984"/>
                    </a:cubicBezTo>
                    <a:cubicBezTo>
                      <a:pt x="8701" y="15894"/>
                      <a:pt x="6478" y="15894"/>
                      <a:pt x="5104" y="13984"/>
                    </a:cubicBezTo>
                    <a:cubicBezTo>
                      <a:pt x="3731" y="12073"/>
                      <a:pt x="3731" y="8976"/>
                      <a:pt x="5104" y="7065"/>
                    </a:cubicBezTo>
                    <a:cubicBezTo>
                      <a:pt x="5791" y="6110"/>
                      <a:pt x="6689" y="5631"/>
                      <a:pt x="7589" y="5631"/>
                    </a:cubicBezTo>
                    <a:close/>
                  </a:path>
                </a:pathLst>
              </a:custGeom>
              <a:solidFill>
                <a:schemeClr val="accent1"/>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5" name="Shape"/>
              <p:cNvSpPr/>
              <p:nvPr/>
            </p:nvSpPr>
            <p:spPr>
              <a:xfrm>
                <a:off x="12291559" y="7773807"/>
                <a:ext cx="1237354" cy="5741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6" name="Shape"/>
              <p:cNvSpPr/>
              <p:nvPr/>
            </p:nvSpPr>
            <p:spPr>
              <a:xfrm>
                <a:off x="12424432" y="6219098"/>
                <a:ext cx="3018719" cy="2126980"/>
              </a:xfrm>
              <a:custGeom>
                <a:avLst/>
                <a:gdLst/>
                <a:ahLst/>
                <a:cxnLst>
                  <a:cxn ang="0">
                    <a:pos x="wd2" y="hd2"/>
                  </a:cxn>
                  <a:cxn ang="5400000">
                    <a:pos x="wd2" y="hd2"/>
                  </a:cxn>
                  <a:cxn ang="10800000">
                    <a:pos x="wd2" y="hd2"/>
                  </a:cxn>
                  <a:cxn ang="16200000">
                    <a:pos x="wd2" y="hd2"/>
                  </a:cxn>
                </a:cxnLst>
                <a:rect l="0" t="0" r="r" b="b"/>
                <a:pathLst>
                  <a:path w="21477" h="21053" extrusionOk="0">
                    <a:moveTo>
                      <a:pt x="7441" y="0"/>
                    </a:moveTo>
                    <a:cubicBezTo>
                      <a:pt x="3403" y="41"/>
                      <a:pt x="114" y="4525"/>
                      <a:pt x="3" y="10141"/>
                    </a:cubicBezTo>
                    <a:cubicBezTo>
                      <a:pt x="-123" y="16506"/>
                      <a:pt x="3770" y="21600"/>
                      <a:pt x="8321" y="21006"/>
                    </a:cubicBezTo>
                    <a:cubicBezTo>
                      <a:pt x="12460" y="20465"/>
                      <a:pt x="15483" y="15335"/>
                      <a:pt x="15136" y="9549"/>
                    </a:cubicBezTo>
                    <a:cubicBezTo>
                      <a:pt x="15054" y="8194"/>
                      <a:pt x="14771" y="6877"/>
                      <a:pt x="14305" y="5683"/>
                    </a:cubicBezTo>
                    <a:lnTo>
                      <a:pt x="21477" y="5683"/>
                    </a:lnTo>
                    <a:lnTo>
                      <a:pt x="20980" y="0"/>
                    </a:lnTo>
                    <a:lnTo>
                      <a:pt x="7441" y="0"/>
                    </a:lnTo>
                    <a:close/>
                    <a:moveTo>
                      <a:pt x="7589" y="5631"/>
                    </a:moveTo>
                    <a:cubicBezTo>
                      <a:pt x="8489" y="5631"/>
                      <a:pt x="9388" y="6110"/>
                      <a:pt x="10074" y="7065"/>
                    </a:cubicBezTo>
                    <a:cubicBezTo>
                      <a:pt x="11448" y="8976"/>
                      <a:pt x="11448" y="12073"/>
                      <a:pt x="10074" y="13984"/>
                    </a:cubicBezTo>
                    <a:cubicBezTo>
                      <a:pt x="8701" y="15894"/>
                      <a:pt x="6478" y="15894"/>
                      <a:pt x="5104" y="13984"/>
                    </a:cubicBezTo>
                    <a:cubicBezTo>
                      <a:pt x="3731" y="12073"/>
                      <a:pt x="3731" y="8976"/>
                      <a:pt x="5104" y="7065"/>
                    </a:cubicBezTo>
                    <a:cubicBezTo>
                      <a:pt x="5791" y="6110"/>
                      <a:pt x="6689" y="5631"/>
                      <a:pt x="7589" y="5631"/>
                    </a:cubicBezTo>
                    <a:close/>
                  </a:path>
                </a:pathLst>
              </a:custGeom>
              <a:solidFill>
                <a:schemeClr val="accent2"/>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7" name="Shape"/>
              <p:cNvSpPr/>
              <p:nvPr/>
            </p:nvSpPr>
            <p:spPr>
              <a:xfrm>
                <a:off x="14205804" y="6219287"/>
                <a:ext cx="1237354" cy="5741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8" name="Shape"/>
              <p:cNvSpPr/>
              <p:nvPr/>
            </p:nvSpPr>
            <p:spPr>
              <a:xfrm>
                <a:off x="14325829" y="4664578"/>
                <a:ext cx="3018719" cy="2126979"/>
              </a:xfrm>
              <a:custGeom>
                <a:avLst/>
                <a:gdLst/>
                <a:ahLst/>
                <a:cxnLst>
                  <a:cxn ang="0">
                    <a:pos x="wd2" y="hd2"/>
                  </a:cxn>
                  <a:cxn ang="5400000">
                    <a:pos x="wd2" y="hd2"/>
                  </a:cxn>
                  <a:cxn ang="10800000">
                    <a:pos x="wd2" y="hd2"/>
                  </a:cxn>
                  <a:cxn ang="16200000">
                    <a:pos x="wd2" y="hd2"/>
                  </a:cxn>
                </a:cxnLst>
                <a:rect l="0" t="0" r="r" b="b"/>
                <a:pathLst>
                  <a:path w="21477" h="21053" extrusionOk="0">
                    <a:moveTo>
                      <a:pt x="7441" y="0"/>
                    </a:moveTo>
                    <a:cubicBezTo>
                      <a:pt x="3403" y="41"/>
                      <a:pt x="114" y="4525"/>
                      <a:pt x="3" y="10141"/>
                    </a:cubicBezTo>
                    <a:cubicBezTo>
                      <a:pt x="-123" y="16506"/>
                      <a:pt x="3770" y="21600"/>
                      <a:pt x="8321" y="21006"/>
                    </a:cubicBezTo>
                    <a:cubicBezTo>
                      <a:pt x="12460" y="20465"/>
                      <a:pt x="15483" y="15335"/>
                      <a:pt x="15136" y="9549"/>
                    </a:cubicBezTo>
                    <a:cubicBezTo>
                      <a:pt x="15054" y="8194"/>
                      <a:pt x="14771" y="6877"/>
                      <a:pt x="14305" y="5683"/>
                    </a:cubicBezTo>
                    <a:lnTo>
                      <a:pt x="21477" y="5683"/>
                    </a:lnTo>
                    <a:lnTo>
                      <a:pt x="20799" y="0"/>
                    </a:lnTo>
                    <a:lnTo>
                      <a:pt x="7441" y="0"/>
                    </a:lnTo>
                    <a:close/>
                    <a:moveTo>
                      <a:pt x="7589" y="5631"/>
                    </a:moveTo>
                    <a:cubicBezTo>
                      <a:pt x="8489" y="5631"/>
                      <a:pt x="9388" y="6110"/>
                      <a:pt x="10074" y="7065"/>
                    </a:cubicBezTo>
                    <a:cubicBezTo>
                      <a:pt x="11448" y="8976"/>
                      <a:pt x="11448" y="12073"/>
                      <a:pt x="10074" y="13984"/>
                    </a:cubicBezTo>
                    <a:cubicBezTo>
                      <a:pt x="8701" y="15894"/>
                      <a:pt x="6478" y="15894"/>
                      <a:pt x="5104" y="13984"/>
                    </a:cubicBezTo>
                    <a:cubicBezTo>
                      <a:pt x="3731" y="12073"/>
                      <a:pt x="3731" y="8976"/>
                      <a:pt x="5104" y="7065"/>
                    </a:cubicBezTo>
                    <a:cubicBezTo>
                      <a:pt x="5791" y="6110"/>
                      <a:pt x="6689" y="5631"/>
                      <a:pt x="7589" y="5631"/>
                    </a:cubicBezTo>
                    <a:close/>
                  </a:path>
                </a:pathLst>
              </a:custGeom>
              <a:solidFill>
                <a:schemeClr val="accent3"/>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499" name="Shape"/>
              <p:cNvSpPr/>
              <p:nvPr/>
            </p:nvSpPr>
            <p:spPr>
              <a:xfrm>
                <a:off x="16107201" y="4664766"/>
                <a:ext cx="1237354" cy="5741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0" name="Shape"/>
              <p:cNvSpPr/>
              <p:nvPr/>
            </p:nvSpPr>
            <p:spPr>
              <a:xfrm>
                <a:off x="16240073" y="3110057"/>
                <a:ext cx="3018719" cy="2126980"/>
              </a:xfrm>
              <a:custGeom>
                <a:avLst/>
                <a:gdLst/>
                <a:ahLst/>
                <a:cxnLst>
                  <a:cxn ang="0">
                    <a:pos x="wd2" y="hd2"/>
                  </a:cxn>
                  <a:cxn ang="5400000">
                    <a:pos x="wd2" y="hd2"/>
                  </a:cxn>
                  <a:cxn ang="10800000">
                    <a:pos x="wd2" y="hd2"/>
                  </a:cxn>
                  <a:cxn ang="16200000">
                    <a:pos x="wd2" y="hd2"/>
                  </a:cxn>
                </a:cxnLst>
                <a:rect l="0" t="0" r="r" b="b"/>
                <a:pathLst>
                  <a:path w="21477" h="21053" extrusionOk="0">
                    <a:moveTo>
                      <a:pt x="7441" y="0"/>
                    </a:moveTo>
                    <a:cubicBezTo>
                      <a:pt x="3403" y="41"/>
                      <a:pt x="114" y="4525"/>
                      <a:pt x="3" y="10141"/>
                    </a:cubicBezTo>
                    <a:cubicBezTo>
                      <a:pt x="-123" y="16506"/>
                      <a:pt x="3770" y="21600"/>
                      <a:pt x="8321" y="21006"/>
                    </a:cubicBezTo>
                    <a:cubicBezTo>
                      <a:pt x="12460" y="20465"/>
                      <a:pt x="15483" y="15335"/>
                      <a:pt x="15136" y="9549"/>
                    </a:cubicBezTo>
                    <a:cubicBezTo>
                      <a:pt x="15054" y="8194"/>
                      <a:pt x="14771" y="6877"/>
                      <a:pt x="14305" y="5683"/>
                    </a:cubicBezTo>
                    <a:lnTo>
                      <a:pt x="21477" y="5683"/>
                    </a:lnTo>
                    <a:lnTo>
                      <a:pt x="20799" y="0"/>
                    </a:lnTo>
                    <a:lnTo>
                      <a:pt x="7441" y="0"/>
                    </a:lnTo>
                    <a:close/>
                    <a:moveTo>
                      <a:pt x="7589" y="5631"/>
                    </a:moveTo>
                    <a:cubicBezTo>
                      <a:pt x="8489" y="5631"/>
                      <a:pt x="9388" y="6110"/>
                      <a:pt x="10074" y="7065"/>
                    </a:cubicBezTo>
                    <a:cubicBezTo>
                      <a:pt x="11448" y="8976"/>
                      <a:pt x="11448" y="12073"/>
                      <a:pt x="10074" y="13984"/>
                    </a:cubicBezTo>
                    <a:cubicBezTo>
                      <a:pt x="8701" y="15894"/>
                      <a:pt x="6478" y="15894"/>
                      <a:pt x="5104" y="13984"/>
                    </a:cubicBezTo>
                    <a:cubicBezTo>
                      <a:pt x="3731" y="12073"/>
                      <a:pt x="3731" y="8976"/>
                      <a:pt x="5104" y="7065"/>
                    </a:cubicBezTo>
                    <a:cubicBezTo>
                      <a:pt x="5791" y="6110"/>
                      <a:pt x="6689" y="5631"/>
                      <a:pt x="7589" y="5631"/>
                    </a:cubicBezTo>
                    <a:close/>
                  </a:path>
                </a:pathLst>
              </a:custGeom>
              <a:solidFill>
                <a:schemeClr val="accent4"/>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1" name="Shape"/>
              <p:cNvSpPr/>
              <p:nvPr/>
            </p:nvSpPr>
            <p:spPr>
              <a:xfrm>
                <a:off x="18021445" y="3110245"/>
                <a:ext cx="1237355" cy="5741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2" name="Shape"/>
              <p:cNvSpPr/>
              <p:nvPr/>
            </p:nvSpPr>
            <p:spPr>
              <a:xfrm>
                <a:off x="18141470" y="1555537"/>
                <a:ext cx="3018719" cy="2126979"/>
              </a:xfrm>
              <a:custGeom>
                <a:avLst/>
                <a:gdLst/>
                <a:ahLst/>
                <a:cxnLst>
                  <a:cxn ang="0">
                    <a:pos x="wd2" y="hd2"/>
                  </a:cxn>
                  <a:cxn ang="5400000">
                    <a:pos x="wd2" y="hd2"/>
                  </a:cxn>
                  <a:cxn ang="10800000">
                    <a:pos x="wd2" y="hd2"/>
                  </a:cxn>
                  <a:cxn ang="16200000">
                    <a:pos x="wd2" y="hd2"/>
                  </a:cxn>
                </a:cxnLst>
                <a:rect l="0" t="0" r="r" b="b"/>
                <a:pathLst>
                  <a:path w="21477" h="21053" extrusionOk="0">
                    <a:moveTo>
                      <a:pt x="7441" y="0"/>
                    </a:moveTo>
                    <a:cubicBezTo>
                      <a:pt x="3403" y="41"/>
                      <a:pt x="114" y="4525"/>
                      <a:pt x="3" y="10141"/>
                    </a:cubicBezTo>
                    <a:cubicBezTo>
                      <a:pt x="-123" y="16506"/>
                      <a:pt x="3770" y="21600"/>
                      <a:pt x="8321" y="21006"/>
                    </a:cubicBezTo>
                    <a:cubicBezTo>
                      <a:pt x="12460" y="20465"/>
                      <a:pt x="15483" y="15335"/>
                      <a:pt x="15136" y="9549"/>
                    </a:cubicBezTo>
                    <a:cubicBezTo>
                      <a:pt x="15054" y="8194"/>
                      <a:pt x="14771" y="6877"/>
                      <a:pt x="14305" y="5683"/>
                    </a:cubicBezTo>
                    <a:lnTo>
                      <a:pt x="21477" y="5683"/>
                    </a:lnTo>
                    <a:lnTo>
                      <a:pt x="20799" y="0"/>
                    </a:lnTo>
                    <a:lnTo>
                      <a:pt x="7441" y="0"/>
                    </a:lnTo>
                    <a:close/>
                    <a:moveTo>
                      <a:pt x="7589" y="5631"/>
                    </a:moveTo>
                    <a:cubicBezTo>
                      <a:pt x="8489" y="5631"/>
                      <a:pt x="9388" y="6110"/>
                      <a:pt x="10074" y="7065"/>
                    </a:cubicBezTo>
                    <a:cubicBezTo>
                      <a:pt x="11448" y="8976"/>
                      <a:pt x="11448" y="12073"/>
                      <a:pt x="10074" y="13984"/>
                    </a:cubicBezTo>
                    <a:cubicBezTo>
                      <a:pt x="8701" y="15894"/>
                      <a:pt x="6478" y="15894"/>
                      <a:pt x="5104" y="13984"/>
                    </a:cubicBezTo>
                    <a:cubicBezTo>
                      <a:pt x="3731" y="12073"/>
                      <a:pt x="3731" y="8976"/>
                      <a:pt x="5104" y="7065"/>
                    </a:cubicBezTo>
                    <a:cubicBezTo>
                      <a:pt x="5791" y="6110"/>
                      <a:pt x="6689" y="5631"/>
                      <a:pt x="7589" y="5631"/>
                    </a:cubicBezTo>
                    <a:close/>
                  </a:path>
                </a:pathLst>
              </a:custGeom>
              <a:solidFill>
                <a:schemeClr val="accent5"/>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3" name="Shape"/>
              <p:cNvSpPr/>
              <p:nvPr/>
            </p:nvSpPr>
            <p:spPr>
              <a:xfrm>
                <a:off x="19922842" y="1555725"/>
                <a:ext cx="1237355" cy="5741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08" y="5840"/>
                      <a:pt x="2755" y="11316"/>
                      <a:pt x="4955" y="16057"/>
                    </a:cubicBezTo>
                    <a:cubicBezTo>
                      <a:pt x="5925" y="18147"/>
                      <a:pt x="6972" y="19967"/>
                      <a:pt x="8060" y="21600"/>
                    </a:cubicBezTo>
                    <a:lnTo>
                      <a:pt x="21600" y="21600"/>
                    </a:lnTo>
                    <a:lnTo>
                      <a:pt x="21488" y="0"/>
                    </a:lnTo>
                    <a:lnTo>
                      <a:pt x="0" y="0"/>
                    </a:lnTo>
                    <a:close/>
                  </a:path>
                </a:pathLst>
              </a:custGeom>
              <a:solidFill>
                <a:srgbClr val="1D1C21">
                  <a:alpha val="10000"/>
                </a:srgbClr>
              </a:solidFill>
              <a:ln w="12700" cap="flat">
                <a:noFill/>
                <a:miter lim="400000"/>
              </a:ln>
              <a:effectLst/>
            </p:spPr>
            <p:txBody>
              <a:bodyPr wrap="square" lIns="0" tIns="0" rIns="0" bIns="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4" name="Shape"/>
              <p:cNvSpPr/>
              <p:nvPr/>
            </p:nvSpPr>
            <p:spPr>
              <a:xfrm>
                <a:off x="20055448" y="0"/>
                <a:ext cx="4340194" cy="2126983"/>
              </a:xfrm>
              <a:custGeom>
                <a:avLst/>
                <a:gdLst/>
                <a:ahLst/>
                <a:cxnLst>
                  <a:cxn ang="0">
                    <a:pos x="wd2" y="hd2"/>
                  </a:cxn>
                  <a:cxn ang="5400000">
                    <a:pos x="wd2" y="hd2"/>
                  </a:cxn>
                  <a:cxn ang="10800000">
                    <a:pos x="wd2" y="hd2"/>
                  </a:cxn>
                  <a:cxn ang="16200000">
                    <a:pos x="wd2" y="hd2"/>
                  </a:cxn>
                </a:cxnLst>
                <a:rect l="0" t="0" r="r" b="b"/>
                <a:pathLst>
                  <a:path w="21514" h="21053" extrusionOk="0">
                    <a:moveTo>
                      <a:pt x="5184" y="0"/>
                    </a:moveTo>
                    <a:cubicBezTo>
                      <a:pt x="2371" y="41"/>
                      <a:pt x="79" y="4525"/>
                      <a:pt x="2" y="10141"/>
                    </a:cubicBezTo>
                    <a:cubicBezTo>
                      <a:pt x="-86" y="16506"/>
                      <a:pt x="2626" y="21600"/>
                      <a:pt x="5797" y="21006"/>
                    </a:cubicBezTo>
                    <a:cubicBezTo>
                      <a:pt x="8681" y="20465"/>
                      <a:pt x="10788" y="15335"/>
                      <a:pt x="10545" y="9549"/>
                    </a:cubicBezTo>
                    <a:cubicBezTo>
                      <a:pt x="10489" y="8194"/>
                      <a:pt x="10291" y="6877"/>
                      <a:pt x="9966" y="5683"/>
                    </a:cubicBezTo>
                    <a:lnTo>
                      <a:pt x="21514" y="5683"/>
                    </a:lnTo>
                    <a:lnTo>
                      <a:pt x="21482" y="0"/>
                    </a:lnTo>
                    <a:lnTo>
                      <a:pt x="5184" y="0"/>
                    </a:lnTo>
                    <a:close/>
                    <a:moveTo>
                      <a:pt x="5287" y="5631"/>
                    </a:moveTo>
                    <a:cubicBezTo>
                      <a:pt x="5914" y="5631"/>
                      <a:pt x="6540" y="6110"/>
                      <a:pt x="7019" y="7065"/>
                    </a:cubicBezTo>
                    <a:cubicBezTo>
                      <a:pt x="7976" y="8976"/>
                      <a:pt x="7976" y="12073"/>
                      <a:pt x="7019" y="13984"/>
                    </a:cubicBezTo>
                    <a:cubicBezTo>
                      <a:pt x="6062" y="15894"/>
                      <a:pt x="4513" y="15894"/>
                      <a:pt x="3556" y="13984"/>
                    </a:cubicBezTo>
                    <a:cubicBezTo>
                      <a:pt x="2599" y="12073"/>
                      <a:pt x="2599" y="8976"/>
                      <a:pt x="3556" y="7065"/>
                    </a:cubicBezTo>
                    <a:cubicBezTo>
                      <a:pt x="4034" y="6110"/>
                      <a:pt x="4660" y="5631"/>
                      <a:pt x="5287" y="5631"/>
                    </a:cubicBezTo>
                    <a:close/>
                  </a:path>
                </a:pathLst>
              </a:custGeom>
              <a:solidFill>
                <a:schemeClr val="accent1"/>
              </a:solidFill>
              <a:ln w="12700" cap="flat">
                <a:noFill/>
                <a:miter lim="400000"/>
              </a:ln>
              <a:effectLst/>
            </p:spPr>
            <p:txBody>
              <a:bodyPr wrap="square" lIns="25400" tIns="25400" rIns="25400" bIns="25400" numCol="1" anchor="ctr">
                <a:noAutofit/>
              </a:bodyPr>
              <a:lstStyle/>
              <a:p>
                <a:pPr defTabSz="764352">
                  <a:defRPr sz="5400" b="0">
                    <a:solidFill>
                      <a:srgbClr val="FFFFFF"/>
                    </a:solidFill>
                    <a:latin typeface="Helvetica Neue Medium"/>
                    <a:ea typeface="Helvetica Neue Medium"/>
                    <a:cs typeface="Helvetica Neue Medium"/>
                    <a:sym typeface="Helvetica Neue Medium"/>
                  </a:defRPr>
                </a:pPr>
                <a:endParaRPr sz="2700"/>
              </a:p>
            </p:txBody>
          </p:sp>
          <p:sp>
            <p:nvSpPr>
              <p:cNvPr id="505" name="P"/>
              <p:cNvSpPr txBox="1"/>
              <p:nvPr/>
            </p:nvSpPr>
            <p:spPr>
              <a:xfrm>
                <a:off x="11427623" y="8465825"/>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lvl1pPr defTabSz="457200">
                  <a:defRPr sz="3600" b="0">
                    <a:solidFill>
                      <a:srgbClr val="1D1C21"/>
                    </a:solidFill>
                    <a:latin typeface="DM Sans Medium"/>
                    <a:ea typeface="DM Sans Medium"/>
                    <a:cs typeface="DM Sans Medium"/>
                    <a:sym typeface="DM Sans Medium"/>
                  </a:defRPr>
                </a:lvl1pPr>
              </a:lstStyle>
              <a:p>
                <a:r>
                  <a:rPr sz="1800">
                    <a:solidFill>
                      <a:schemeClr val="bg1"/>
                    </a:solidFill>
                  </a:rPr>
                  <a:t>P</a:t>
                </a:r>
              </a:p>
            </p:txBody>
          </p:sp>
          <p:sp>
            <p:nvSpPr>
              <p:cNvPr id="506" name="E"/>
              <p:cNvSpPr txBox="1"/>
              <p:nvPr/>
            </p:nvSpPr>
            <p:spPr>
              <a:xfrm>
                <a:off x="13342701" y="6911306"/>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defPPr>
                  <a:defRPr lang="en-US"/>
                </a:defPPr>
                <a:lvl1pPr defTabSz="457200">
                  <a:defRPr b="0">
                    <a:solidFill>
                      <a:schemeClr val="bg1"/>
                    </a:solidFill>
                    <a:latin typeface="DM Sans Medium"/>
                    <a:ea typeface="DM Sans Medium"/>
                    <a:cs typeface="DM Sans Medium"/>
                  </a:defRPr>
                </a:lvl1pPr>
              </a:lstStyle>
              <a:p>
                <a:r>
                  <a:t>E</a:t>
                </a:r>
              </a:p>
            </p:txBody>
          </p:sp>
          <p:sp>
            <p:nvSpPr>
              <p:cNvPr id="507" name="S"/>
              <p:cNvSpPr txBox="1"/>
              <p:nvPr/>
            </p:nvSpPr>
            <p:spPr>
              <a:xfrm>
                <a:off x="15244097" y="5399772"/>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defPPr>
                  <a:defRPr lang="en-US"/>
                </a:defPPr>
                <a:lvl1pPr defTabSz="457200">
                  <a:defRPr b="0">
                    <a:solidFill>
                      <a:schemeClr val="bg1"/>
                    </a:solidFill>
                    <a:latin typeface="DM Sans Medium"/>
                    <a:ea typeface="DM Sans Medium"/>
                    <a:cs typeface="DM Sans Medium"/>
                  </a:defRPr>
                </a:lvl1pPr>
              </a:lstStyle>
              <a:p>
                <a:r>
                  <a:t>S</a:t>
                </a:r>
              </a:p>
            </p:txBody>
          </p:sp>
          <p:sp>
            <p:nvSpPr>
              <p:cNvPr id="508" name="T"/>
              <p:cNvSpPr txBox="1"/>
              <p:nvPr/>
            </p:nvSpPr>
            <p:spPr>
              <a:xfrm>
                <a:off x="17158341" y="3845251"/>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defPPr>
                  <a:defRPr lang="en-US"/>
                </a:defPPr>
                <a:lvl1pPr defTabSz="457200">
                  <a:defRPr b="0">
                    <a:solidFill>
                      <a:schemeClr val="bg1"/>
                    </a:solidFill>
                    <a:latin typeface="DM Sans Medium"/>
                    <a:ea typeface="DM Sans Medium"/>
                    <a:cs typeface="DM Sans Medium"/>
                  </a:defRPr>
                </a:lvl1pPr>
              </a:lstStyle>
              <a:p>
                <a:r>
                  <a:t>T</a:t>
                </a:r>
              </a:p>
            </p:txBody>
          </p:sp>
          <p:sp>
            <p:nvSpPr>
              <p:cNvPr id="509" name="L"/>
              <p:cNvSpPr txBox="1"/>
              <p:nvPr/>
            </p:nvSpPr>
            <p:spPr>
              <a:xfrm>
                <a:off x="19059738" y="2290735"/>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defPPr>
                  <a:defRPr lang="en-US"/>
                </a:defPPr>
                <a:lvl1pPr defTabSz="457200">
                  <a:defRPr b="0">
                    <a:solidFill>
                      <a:schemeClr val="bg1"/>
                    </a:solidFill>
                    <a:latin typeface="DM Sans Medium"/>
                    <a:ea typeface="DM Sans Medium"/>
                    <a:cs typeface="DM Sans Medium"/>
                  </a:defRPr>
                </a:lvl1pPr>
              </a:lstStyle>
              <a:p>
                <a:r>
                  <a:t>L</a:t>
                </a:r>
              </a:p>
            </p:txBody>
          </p:sp>
          <p:sp>
            <p:nvSpPr>
              <p:cNvPr id="510" name="E"/>
              <p:cNvSpPr txBox="1"/>
              <p:nvPr/>
            </p:nvSpPr>
            <p:spPr>
              <a:xfrm>
                <a:off x="20916258" y="735196"/>
                <a:ext cx="1182182" cy="65659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numCol="1" anchor="t">
                <a:spAutoFit/>
              </a:bodyPr>
              <a:lstStyle>
                <a:defPPr>
                  <a:defRPr lang="en-US"/>
                </a:defPPr>
                <a:lvl1pPr defTabSz="457200">
                  <a:defRPr b="0">
                    <a:solidFill>
                      <a:schemeClr val="bg1"/>
                    </a:solidFill>
                    <a:latin typeface="DM Sans Medium"/>
                    <a:ea typeface="DM Sans Medium"/>
                    <a:cs typeface="DM Sans Medium"/>
                  </a:defRPr>
                </a:lvl1pPr>
              </a:lstStyle>
              <a:p>
                <a:r>
                  <a:t>E</a:t>
                </a:r>
              </a:p>
            </p:txBody>
          </p:sp>
        </p:grpSp>
      </p:gr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FDEBFA9C-382D-4451-953D-299183196481}"/>
              </a:ext>
            </a:extLst>
          </p:cNvPr>
          <p:cNvGrpSpPr/>
          <p:nvPr/>
        </p:nvGrpSpPr>
        <p:grpSpPr>
          <a:xfrm>
            <a:off x="1271676" y="1407886"/>
            <a:ext cx="2547872" cy="2024838"/>
            <a:chOff x="801383" y="841199"/>
            <a:chExt cx="2547872" cy="2024838"/>
          </a:xfrm>
        </p:grpSpPr>
        <p:sp>
          <p:nvSpPr>
            <p:cNvPr id="26" name="Rechteck 25">
              <a:extLst>
                <a:ext uri="{FF2B5EF4-FFF2-40B4-BE49-F238E27FC236}">
                  <a16:creationId xmlns:a16="http://schemas.microsoft.com/office/drawing/2014/main" id="{2771E074-21E7-463E-8A71-2B49605CF04F}"/>
                </a:ext>
              </a:extLst>
            </p:cNvPr>
            <p:cNvSpPr/>
            <p:nvPr/>
          </p:nvSpPr>
          <p:spPr>
            <a:xfrm>
              <a:off x="801383" y="2472635"/>
              <a:ext cx="2547872" cy="393402"/>
            </a:xfrm>
            <a:prstGeom prst="rect">
              <a:avLst/>
            </a:prstGeom>
            <a:solidFill>
              <a:schemeClr val="bg2">
                <a:lumMod val="2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de-DE" sz="2800">
                  <a:solidFill>
                    <a:schemeClr val="bg1"/>
                  </a:solidFill>
                </a:rPr>
                <a:t>Political</a:t>
              </a:r>
            </a:p>
          </p:txBody>
        </p:sp>
        <p:sp>
          <p:nvSpPr>
            <p:cNvPr id="28" name="Rechteck 27">
              <a:extLst>
                <a:ext uri="{FF2B5EF4-FFF2-40B4-BE49-F238E27FC236}">
                  <a16:creationId xmlns:a16="http://schemas.microsoft.com/office/drawing/2014/main" id="{229C84F1-4BA3-4AF6-B4EA-DB7C44306528}"/>
                </a:ext>
              </a:extLst>
            </p:cNvPr>
            <p:cNvSpPr/>
            <p:nvPr/>
          </p:nvSpPr>
          <p:spPr>
            <a:xfrm>
              <a:off x="801383" y="841199"/>
              <a:ext cx="2547872" cy="1631435"/>
            </a:xfrm>
            <a:prstGeom prst="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a:extLst>
              <a:ext uri="{FF2B5EF4-FFF2-40B4-BE49-F238E27FC236}">
                <a16:creationId xmlns:a16="http://schemas.microsoft.com/office/drawing/2014/main" id="{75607ECC-D92D-47D3-9196-3B490DE5A029}"/>
              </a:ext>
            </a:extLst>
          </p:cNvPr>
          <p:cNvGrpSpPr/>
          <p:nvPr/>
        </p:nvGrpSpPr>
        <p:grpSpPr>
          <a:xfrm>
            <a:off x="4584778" y="1434767"/>
            <a:ext cx="2547872" cy="2037251"/>
            <a:chOff x="904705" y="828786"/>
            <a:chExt cx="2547872" cy="2037251"/>
          </a:xfrm>
        </p:grpSpPr>
        <p:sp>
          <p:nvSpPr>
            <p:cNvPr id="34" name="Rechteck 33">
              <a:extLst>
                <a:ext uri="{FF2B5EF4-FFF2-40B4-BE49-F238E27FC236}">
                  <a16:creationId xmlns:a16="http://schemas.microsoft.com/office/drawing/2014/main" id="{657BF9F5-9031-48D8-9838-145EBA323B47}"/>
                </a:ext>
              </a:extLst>
            </p:cNvPr>
            <p:cNvSpPr/>
            <p:nvPr/>
          </p:nvSpPr>
          <p:spPr>
            <a:xfrm>
              <a:off x="904705" y="2472635"/>
              <a:ext cx="2547872" cy="393402"/>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AU" sz="2800">
                  <a:solidFill>
                    <a:schemeClr val="bg1"/>
                  </a:solidFill>
                </a:rPr>
                <a:t>Economic</a:t>
              </a:r>
            </a:p>
          </p:txBody>
        </p:sp>
        <p:sp>
          <p:nvSpPr>
            <p:cNvPr id="36" name="Rechteck 35">
              <a:extLst>
                <a:ext uri="{FF2B5EF4-FFF2-40B4-BE49-F238E27FC236}">
                  <a16:creationId xmlns:a16="http://schemas.microsoft.com/office/drawing/2014/main" id="{BF29094A-BDA0-4DF6-A651-47A82CE43703}"/>
                </a:ext>
              </a:extLst>
            </p:cNvPr>
            <p:cNvSpPr/>
            <p:nvPr/>
          </p:nvSpPr>
          <p:spPr>
            <a:xfrm>
              <a:off x="904705" y="828786"/>
              <a:ext cx="2547872" cy="1631435"/>
            </a:xfrm>
            <a:prstGeom prst="rect">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7" name="Gruppieren 36">
            <a:extLst>
              <a:ext uri="{FF2B5EF4-FFF2-40B4-BE49-F238E27FC236}">
                <a16:creationId xmlns:a16="http://schemas.microsoft.com/office/drawing/2014/main" id="{D9539805-E57C-48F6-92D4-549831A70B4E}"/>
              </a:ext>
            </a:extLst>
          </p:cNvPr>
          <p:cNvGrpSpPr/>
          <p:nvPr/>
        </p:nvGrpSpPr>
        <p:grpSpPr>
          <a:xfrm>
            <a:off x="7920490" y="1407886"/>
            <a:ext cx="2547872" cy="2024838"/>
            <a:chOff x="801383" y="841199"/>
            <a:chExt cx="2547872" cy="2024838"/>
          </a:xfrm>
        </p:grpSpPr>
        <p:sp>
          <p:nvSpPr>
            <p:cNvPr id="38" name="Rechteck 37">
              <a:extLst>
                <a:ext uri="{FF2B5EF4-FFF2-40B4-BE49-F238E27FC236}">
                  <a16:creationId xmlns:a16="http://schemas.microsoft.com/office/drawing/2014/main" id="{BA3B6128-34DB-448D-9C3D-D7230AFC16B8}"/>
                </a:ext>
              </a:extLst>
            </p:cNvPr>
            <p:cNvSpPr/>
            <p:nvPr/>
          </p:nvSpPr>
          <p:spPr>
            <a:xfrm>
              <a:off x="801383" y="2472635"/>
              <a:ext cx="2547872" cy="393402"/>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AU" sz="2800">
                  <a:solidFill>
                    <a:schemeClr val="bg1"/>
                  </a:solidFill>
                </a:rPr>
                <a:t>Social</a:t>
              </a:r>
            </a:p>
          </p:txBody>
        </p:sp>
        <p:sp>
          <p:nvSpPr>
            <p:cNvPr id="40" name="Rechteck 39">
              <a:extLst>
                <a:ext uri="{FF2B5EF4-FFF2-40B4-BE49-F238E27FC236}">
                  <a16:creationId xmlns:a16="http://schemas.microsoft.com/office/drawing/2014/main" id="{FE4B1EAE-DB25-44EC-AFB5-E2AC054AD1A4}"/>
                </a:ext>
              </a:extLst>
            </p:cNvPr>
            <p:cNvSpPr/>
            <p:nvPr/>
          </p:nvSpPr>
          <p:spPr>
            <a:xfrm>
              <a:off x="801383" y="841199"/>
              <a:ext cx="2547872" cy="1631435"/>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1" name="标题 10">
            <a:extLst>
              <a:ext uri="{FF2B5EF4-FFF2-40B4-BE49-F238E27FC236}">
                <a16:creationId xmlns:a16="http://schemas.microsoft.com/office/drawing/2014/main" id="{53CEC049-EEA8-46CD-854A-070A4C963327}"/>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42" name="Rechteck 41">
            <a:extLst>
              <a:ext uri="{FF2B5EF4-FFF2-40B4-BE49-F238E27FC236}">
                <a16:creationId xmlns:a16="http://schemas.microsoft.com/office/drawing/2014/main" id="{9D5FC891-34FE-4EA0-9C31-D285D8AB442C}"/>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 - </a:t>
            </a:r>
            <a:r>
              <a:rPr lang="de-DE" altLang="zh-CN" sz="2400">
                <a:ea typeface="等线 Light"/>
                <a:cs typeface="Calibri Light"/>
              </a:rPr>
              <a:t>R</a:t>
            </a:r>
            <a:r>
              <a:rPr lang="zh-CN" altLang="en-US" sz="2400">
                <a:ea typeface="等线 Light"/>
                <a:cs typeface="Calibri Light"/>
              </a:rPr>
              <a:t>eview</a:t>
            </a:r>
            <a:endParaRPr lang="de-DE" altLang="zh-CN" sz="2400">
              <a:ea typeface="等线 Light"/>
              <a:cs typeface="Calibri Light"/>
            </a:endParaRPr>
          </a:p>
        </p:txBody>
      </p:sp>
      <p:sp>
        <p:nvSpPr>
          <p:cNvPr id="2" name="Foliennummernplatzhalter 1">
            <a:extLst>
              <a:ext uri="{FF2B5EF4-FFF2-40B4-BE49-F238E27FC236}">
                <a16:creationId xmlns:a16="http://schemas.microsoft.com/office/drawing/2014/main" id="{5B71634A-74BD-4118-8403-3AC6B92E5203}"/>
              </a:ext>
            </a:extLst>
          </p:cNvPr>
          <p:cNvSpPr>
            <a:spLocks noGrp="1"/>
          </p:cNvSpPr>
          <p:nvPr>
            <p:ph type="sldNum" sz="quarter" idx="12"/>
          </p:nvPr>
        </p:nvSpPr>
        <p:spPr/>
        <p:txBody>
          <a:bodyPr/>
          <a:lstStyle/>
          <a:p>
            <a:fld id="{4A0B9D2D-6490-410F-BAA1-A5DF4CF5DAF3}" type="slidenum">
              <a:rPr lang="en-GB" smtClean="0"/>
              <a:t>6</a:t>
            </a:fld>
            <a:endParaRPr lang="en-GB"/>
          </a:p>
        </p:txBody>
      </p:sp>
      <p:grpSp>
        <p:nvGrpSpPr>
          <p:cNvPr id="22" name="Gruppieren 10">
            <a:extLst>
              <a:ext uri="{FF2B5EF4-FFF2-40B4-BE49-F238E27FC236}">
                <a16:creationId xmlns:a16="http://schemas.microsoft.com/office/drawing/2014/main" id="{84585F9B-7936-4D30-B193-C210AA369C8A}"/>
              </a:ext>
            </a:extLst>
          </p:cNvPr>
          <p:cNvGrpSpPr/>
          <p:nvPr/>
        </p:nvGrpSpPr>
        <p:grpSpPr>
          <a:xfrm>
            <a:off x="1271676" y="4104546"/>
            <a:ext cx="2547872" cy="2024838"/>
            <a:chOff x="611360" y="1398744"/>
            <a:chExt cx="2547872" cy="2024838"/>
          </a:xfrm>
        </p:grpSpPr>
        <p:sp>
          <p:nvSpPr>
            <p:cNvPr id="23" name="Rechteck 14">
              <a:extLst>
                <a:ext uri="{FF2B5EF4-FFF2-40B4-BE49-F238E27FC236}">
                  <a16:creationId xmlns:a16="http://schemas.microsoft.com/office/drawing/2014/main" id="{C5FBC8A1-9A83-413A-AE0C-5AC5EE4E2707}"/>
                </a:ext>
              </a:extLst>
            </p:cNvPr>
            <p:cNvSpPr/>
            <p:nvPr/>
          </p:nvSpPr>
          <p:spPr>
            <a:xfrm>
              <a:off x="611360" y="3030180"/>
              <a:ext cx="2547872" cy="393402"/>
            </a:xfrm>
            <a:prstGeom prst="rect">
              <a:avLst/>
            </a:prstGeom>
            <a:solidFill>
              <a:schemeClr val="bg2">
                <a:lumMod val="25000"/>
              </a:schemeClr>
            </a:solidFill>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de-DE" altLang="zh-CN" sz="2800">
                  <a:solidFill>
                    <a:schemeClr val="bg1"/>
                  </a:solidFill>
                  <a:ea typeface="等线"/>
                  <a:cs typeface="Calibri"/>
                </a:rPr>
                <a:t>Technological</a:t>
              </a:r>
              <a:endParaRPr lang="zh-CN" altLang="en-US" sz="2800">
                <a:solidFill>
                  <a:schemeClr val="bg1"/>
                </a:solidFill>
                <a:ea typeface="等线"/>
                <a:cs typeface="Calibri"/>
              </a:endParaRPr>
            </a:p>
          </p:txBody>
        </p:sp>
        <p:sp>
          <p:nvSpPr>
            <p:cNvPr id="25" name="Rechteck 18">
              <a:extLst>
                <a:ext uri="{FF2B5EF4-FFF2-40B4-BE49-F238E27FC236}">
                  <a16:creationId xmlns:a16="http://schemas.microsoft.com/office/drawing/2014/main" id="{C113B1E4-5CB2-4270-A48C-35E064386323}"/>
                </a:ext>
              </a:extLst>
            </p:cNvPr>
            <p:cNvSpPr/>
            <p:nvPr/>
          </p:nvSpPr>
          <p:spPr>
            <a:xfrm>
              <a:off x="611360" y="1398744"/>
              <a:ext cx="2547872" cy="1631435"/>
            </a:xfrm>
            <a:prstGeom prst="rect">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grpSp>
      <p:grpSp>
        <p:nvGrpSpPr>
          <p:cNvPr id="43" name="Gruppieren 19">
            <a:extLst>
              <a:ext uri="{FF2B5EF4-FFF2-40B4-BE49-F238E27FC236}">
                <a16:creationId xmlns:a16="http://schemas.microsoft.com/office/drawing/2014/main" id="{F4747727-CD12-451F-A3FA-E5D76515F09D}"/>
              </a:ext>
            </a:extLst>
          </p:cNvPr>
          <p:cNvGrpSpPr/>
          <p:nvPr/>
        </p:nvGrpSpPr>
        <p:grpSpPr>
          <a:xfrm>
            <a:off x="4584778" y="4067058"/>
            <a:ext cx="2547872" cy="2020348"/>
            <a:chOff x="4783596" y="1166269"/>
            <a:chExt cx="2547872" cy="2020348"/>
          </a:xfrm>
        </p:grpSpPr>
        <p:sp>
          <p:nvSpPr>
            <p:cNvPr id="44" name="Rechteck 20">
              <a:extLst>
                <a:ext uri="{FF2B5EF4-FFF2-40B4-BE49-F238E27FC236}">
                  <a16:creationId xmlns:a16="http://schemas.microsoft.com/office/drawing/2014/main" id="{41607CA0-E30C-4B96-927C-38E34396679E}"/>
                </a:ext>
              </a:extLst>
            </p:cNvPr>
            <p:cNvSpPr/>
            <p:nvPr/>
          </p:nvSpPr>
          <p:spPr>
            <a:xfrm>
              <a:off x="4783596" y="2793215"/>
              <a:ext cx="2547872" cy="393402"/>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de-DE" sz="2800">
                  <a:solidFill>
                    <a:schemeClr val="bg1"/>
                  </a:solidFill>
                </a:rPr>
                <a:t>Environmental</a:t>
              </a:r>
            </a:p>
          </p:txBody>
        </p:sp>
        <p:sp>
          <p:nvSpPr>
            <p:cNvPr id="46" name="Rechteck 22">
              <a:extLst>
                <a:ext uri="{FF2B5EF4-FFF2-40B4-BE49-F238E27FC236}">
                  <a16:creationId xmlns:a16="http://schemas.microsoft.com/office/drawing/2014/main" id="{62D3A3F3-0401-46C0-9028-6637906F260A}"/>
                </a:ext>
              </a:extLst>
            </p:cNvPr>
            <p:cNvSpPr/>
            <p:nvPr/>
          </p:nvSpPr>
          <p:spPr>
            <a:xfrm>
              <a:off x="4783596" y="1166269"/>
              <a:ext cx="2547872" cy="1631435"/>
            </a:xfrm>
            <a:prstGeom prst="rect">
              <a:avLst/>
            </a:prstGeom>
            <a:blipFill>
              <a:blip r:embed="rId7"/>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grpSp>
      <p:grpSp>
        <p:nvGrpSpPr>
          <p:cNvPr id="47" name="Gruppieren 23">
            <a:extLst>
              <a:ext uri="{FF2B5EF4-FFF2-40B4-BE49-F238E27FC236}">
                <a16:creationId xmlns:a16="http://schemas.microsoft.com/office/drawing/2014/main" id="{27CFB0E0-0937-4735-8800-72B4CBFA4175}"/>
              </a:ext>
            </a:extLst>
          </p:cNvPr>
          <p:cNvGrpSpPr/>
          <p:nvPr/>
        </p:nvGrpSpPr>
        <p:grpSpPr>
          <a:xfrm>
            <a:off x="7931670" y="4052329"/>
            <a:ext cx="2547872" cy="2024838"/>
            <a:chOff x="7987223" y="1540005"/>
            <a:chExt cx="2547872" cy="2024838"/>
          </a:xfrm>
        </p:grpSpPr>
        <p:sp>
          <p:nvSpPr>
            <p:cNvPr id="48" name="Rechteck 24">
              <a:extLst>
                <a:ext uri="{FF2B5EF4-FFF2-40B4-BE49-F238E27FC236}">
                  <a16:creationId xmlns:a16="http://schemas.microsoft.com/office/drawing/2014/main" id="{04E374C7-CD5C-49D4-8C42-5635D88BDFCB}"/>
                </a:ext>
              </a:extLst>
            </p:cNvPr>
            <p:cNvSpPr/>
            <p:nvPr/>
          </p:nvSpPr>
          <p:spPr>
            <a:xfrm>
              <a:off x="7987223" y="3171441"/>
              <a:ext cx="2547872" cy="393402"/>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de-DE" sz="2800">
                  <a:solidFill>
                    <a:schemeClr val="bg1"/>
                  </a:solidFill>
                </a:rPr>
                <a:t>Legal</a:t>
              </a:r>
            </a:p>
          </p:txBody>
        </p:sp>
        <p:sp>
          <p:nvSpPr>
            <p:cNvPr id="50" name="Rechteck 29">
              <a:extLst>
                <a:ext uri="{FF2B5EF4-FFF2-40B4-BE49-F238E27FC236}">
                  <a16:creationId xmlns:a16="http://schemas.microsoft.com/office/drawing/2014/main" id="{7B5B4D70-CE12-494F-9727-9AE2E7ADF09E}"/>
                </a:ext>
              </a:extLst>
            </p:cNvPr>
            <p:cNvSpPr/>
            <p:nvPr/>
          </p:nvSpPr>
          <p:spPr>
            <a:xfrm>
              <a:off x="7987223" y="1540005"/>
              <a:ext cx="2547872" cy="1631435"/>
            </a:xfrm>
            <a:prstGeom prst="rect">
              <a:avLst/>
            </a:prstGeom>
            <a:blipFill>
              <a:blip r:embed="rId8"/>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grpSp>
    </p:spTree>
    <p:extLst>
      <p:ext uri="{BB962C8B-B14F-4D97-AF65-F5344CB8AC3E}">
        <p14:creationId xmlns:p14="http://schemas.microsoft.com/office/powerpoint/2010/main" val="21749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23">
            <a:extLst>
              <a:ext uri="{FF2B5EF4-FFF2-40B4-BE49-F238E27FC236}">
                <a16:creationId xmlns:a16="http://schemas.microsoft.com/office/drawing/2014/main" id="{B3622104-8248-8A49-BE15-0537C79B7E48}"/>
              </a:ext>
            </a:extLst>
          </p:cNvPr>
          <p:cNvCxnSpPr>
            <a:cxnSpLocks/>
          </p:cNvCxnSpPr>
          <p:nvPr/>
        </p:nvCxnSpPr>
        <p:spPr>
          <a:xfrm flipV="1">
            <a:off x="0" y="3095415"/>
            <a:ext cx="12195048"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标题 10">
            <a:extLst>
              <a:ext uri="{FF2B5EF4-FFF2-40B4-BE49-F238E27FC236}">
                <a16:creationId xmlns:a16="http://schemas.microsoft.com/office/drawing/2014/main" id="{6E1ED89E-07ED-4FEC-A583-48A0A8CD37CE}"/>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13" name="Rechteck 12">
            <a:extLst>
              <a:ext uri="{FF2B5EF4-FFF2-40B4-BE49-F238E27FC236}">
                <a16:creationId xmlns:a16="http://schemas.microsoft.com/office/drawing/2014/main" id="{CD12F295-986B-49B3-B714-7B35CD80CF04}"/>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a:t>
            </a:r>
            <a:r>
              <a:rPr lang="de-DE" altLang="zh-CN" sz="2400">
                <a:ea typeface="等线 Light"/>
                <a:cs typeface="Calibri Light"/>
              </a:rPr>
              <a:t> Analysis:  Political </a:t>
            </a:r>
            <a:r>
              <a:rPr lang="en-AU" altLang="zh-CN" sz="2400">
                <a:ea typeface="等线 Light"/>
                <a:cs typeface="Calibri Light"/>
              </a:rPr>
              <a:t>factors – part 1</a:t>
            </a:r>
          </a:p>
        </p:txBody>
      </p:sp>
      <p:sp>
        <p:nvSpPr>
          <p:cNvPr id="14" name="Textfeld 13">
            <a:extLst>
              <a:ext uri="{FF2B5EF4-FFF2-40B4-BE49-F238E27FC236}">
                <a16:creationId xmlns:a16="http://schemas.microsoft.com/office/drawing/2014/main" id="{31744EF3-C828-48AA-BBF7-92432F99DAD3}"/>
              </a:ext>
            </a:extLst>
          </p:cNvPr>
          <p:cNvSpPr txBox="1"/>
          <p:nvPr/>
        </p:nvSpPr>
        <p:spPr>
          <a:xfrm>
            <a:off x="221876" y="911935"/>
            <a:ext cx="5874124" cy="6463308"/>
          </a:xfrm>
          <a:prstGeom prst="rect">
            <a:avLst/>
          </a:prstGeom>
          <a:noFill/>
        </p:spPr>
        <p:txBody>
          <a:bodyPr wrap="square" lIns="91440" tIns="45720" rIns="91440" bIns="45720" anchor="t">
            <a:spAutoFit/>
          </a:bodyPr>
          <a:lstStyle/>
          <a:p>
            <a:r>
              <a:rPr lang="en-US" altLang="zh-CN" b="1">
                <a:latin typeface="Aharoni" panose="020F0502020204030204" pitchFamily="34" charset="0"/>
                <a:ea typeface="+mn-lt"/>
                <a:cs typeface="Aharoni" panose="020F0502020204030204" pitchFamily="34" charset="0"/>
              </a:rPr>
              <a:t>Positive factors:</a:t>
            </a:r>
          </a:p>
          <a:p>
            <a:pPr marL="285750" indent="-285750">
              <a:buFont typeface="Arial"/>
              <a:buChar char="•"/>
            </a:pPr>
            <a:r>
              <a:rPr lang="en-US" altLang="zh-CN" b="1">
                <a:ea typeface="+mn-lt"/>
                <a:cs typeface="+mn-lt"/>
              </a:rPr>
              <a:t>Shift</a:t>
            </a:r>
            <a:r>
              <a:rPr lang="zh-CN" altLang="en-US" b="1">
                <a:ea typeface="+mn-lt"/>
                <a:cs typeface="+mn-lt"/>
              </a:rPr>
              <a:t> </a:t>
            </a:r>
            <a:r>
              <a:rPr lang="en-US" altLang="zh-CN" b="1">
                <a:ea typeface="+mn-lt"/>
                <a:cs typeface="+mn-lt"/>
              </a:rPr>
              <a:t>the</a:t>
            </a:r>
            <a:r>
              <a:rPr lang="zh-CN" altLang="en-US" b="1">
                <a:ea typeface="+mn-lt"/>
                <a:cs typeface="+mn-lt"/>
              </a:rPr>
              <a:t> </a:t>
            </a:r>
            <a:r>
              <a:rPr lang="en-US" altLang="zh-CN" b="1">
                <a:ea typeface="+mn-lt"/>
                <a:cs typeface="+mn-lt"/>
              </a:rPr>
              <a:t>balance</a:t>
            </a:r>
            <a:r>
              <a:rPr lang="zh-CN" altLang="en-US">
                <a:ea typeface="+mn-lt"/>
                <a:cs typeface="+mn-lt"/>
              </a:rPr>
              <a:t> </a:t>
            </a:r>
            <a:r>
              <a:rPr lang="en-US" altLang="zh-CN">
                <a:ea typeface="+mn-lt"/>
                <a:cs typeface="+mn-lt"/>
              </a:rPr>
              <a:t>of</a:t>
            </a:r>
            <a:r>
              <a:rPr lang="zh-CN" altLang="en-US">
                <a:ea typeface="+mn-lt"/>
                <a:cs typeface="+mn-lt"/>
              </a:rPr>
              <a:t> </a:t>
            </a:r>
            <a:r>
              <a:rPr lang="en-US" altLang="zh-CN">
                <a:ea typeface="+mn-lt"/>
                <a:cs typeface="+mn-lt"/>
              </a:rPr>
              <a:t>power</a:t>
            </a:r>
            <a:r>
              <a:rPr lang="zh-CN" altLang="en-US">
                <a:ea typeface="+mn-lt"/>
                <a:cs typeface="+mn-lt"/>
              </a:rPr>
              <a:t> </a:t>
            </a:r>
            <a:r>
              <a:rPr lang="en-US" altLang="zh-CN">
                <a:ea typeface="+mn-lt"/>
                <a:cs typeface="+mn-lt"/>
              </a:rPr>
              <a:t>within</a:t>
            </a:r>
            <a:r>
              <a:rPr lang="zh-CN" altLang="en-US">
                <a:ea typeface="+mn-lt"/>
                <a:cs typeface="+mn-lt"/>
              </a:rPr>
              <a:t> </a:t>
            </a:r>
            <a:r>
              <a:rPr lang="en-US" altLang="zh-CN">
                <a:ea typeface="+mn-lt"/>
                <a:cs typeface="+mn-lt"/>
              </a:rPr>
              <a:t>ASEAN</a:t>
            </a:r>
            <a:r>
              <a:rPr lang="zh-CN" altLang="en-US">
                <a:ea typeface="+mn-lt"/>
                <a:cs typeface="+mn-lt"/>
              </a:rPr>
              <a:t> (a</a:t>
            </a:r>
            <a:r>
              <a:rPr lang="en-US" altLang="zh-CN">
                <a:ea typeface="+mn-lt"/>
                <a:cs typeface="+mn-lt"/>
              </a:rPr>
              <a:t>n intergovernmental organization </a:t>
            </a:r>
            <a:r>
              <a:rPr lang="zh-CN" altLang="en-US">
                <a:ea typeface="+mn-lt"/>
                <a:cs typeface="+mn-lt"/>
              </a:rPr>
              <a:t>of 10 </a:t>
            </a:r>
            <a:r>
              <a:rPr lang="en-US" altLang="zh-CN">
                <a:ea typeface="+mn-lt"/>
                <a:cs typeface="+mn-lt"/>
              </a:rPr>
              <a:t>S</a:t>
            </a:r>
            <a:r>
              <a:rPr lang="zh-CN" altLang="en-US">
                <a:ea typeface="+mn-lt"/>
                <a:cs typeface="+mn-lt"/>
              </a:rPr>
              <a:t>outheast Asia countries)</a:t>
            </a:r>
            <a:r>
              <a:rPr lang="en-US" altLang="zh-CN">
                <a:ea typeface="+mn-lt"/>
                <a:cs typeface="+mn-lt"/>
              </a:rPr>
              <a:t>,</a:t>
            </a:r>
            <a:r>
              <a:rPr lang="zh-CN" altLang="en-US">
                <a:ea typeface="+mn-lt"/>
                <a:cs typeface="+mn-lt"/>
              </a:rPr>
              <a:t> </a:t>
            </a:r>
            <a:r>
              <a:rPr lang="en-US" altLang="zh-CN">
                <a:ea typeface="+mn-lt"/>
                <a:cs typeface="+mn-lt"/>
              </a:rPr>
              <a:t>particularly</a:t>
            </a:r>
            <a:r>
              <a:rPr lang="zh-CN" altLang="en-US">
                <a:ea typeface="+mn-lt"/>
                <a:cs typeface="+mn-lt"/>
              </a:rPr>
              <a:t> </a:t>
            </a:r>
            <a:r>
              <a:rPr lang="en-US" altLang="zh-CN">
                <a:ea typeface="+mn-lt"/>
                <a:cs typeface="+mn-lt"/>
              </a:rPr>
              <a:t>in</a:t>
            </a:r>
            <a:r>
              <a:rPr lang="zh-CN" altLang="en-US">
                <a:ea typeface="+mn-lt"/>
                <a:cs typeface="+mn-lt"/>
              </a:rPr>
              <a:t> </a:t>
            </a:r>
            <a:r>
              <a:rPr lang="en-US" altLang="zh-CN">
                <a:ea typeface="+mn-lt"/>
                <a:cs typeface="+mn-lt"/>
              </a:rPr>
              <a:t>terms</a:t>
            </a:r>
            <a:r>
              <a:rPr lang="zh-CN" altLang="en-US">
                <a:ea typeface="+mn-lt"/>
                <a:cs typeface="+mn-lt"/>
              </a:rPr>
              <a:t> </a:t>
            </a:r>
            <a:r>
              <a:rPr lang="en-US" altLang="zh-CN">
                <a:ea typeface="+mn-lt"/>
                <a:cs typeface="+mn-lt"/>
              </a:rPr>
              <a:t>of</a:t>
            </a:r>
            <a:r>
              <a:rPr lang="zh-CN" altLang="en-US">
                <a:ea typeface="+mn-lt"/>
                <a:cs typeface="+mn-lt"/>
              </a:rPr>
              <a:t> </a:t>
            </a:r>
            <a:r>
              <a:rPr lang="en-US" altLang="zh-CN">
                <a:ea typeface="+mn-lt"/>
                <a:cs typeface="+mn-lt"/>
              </a:rPr>
              <a:t>trade</a:t>
            </a:r>
            <a:r>
              <a:rPr lang="zh-CN" altLang="en-US">
                <a:ea typeface="+mn-lt"/>
                <a:cs typeface="+mn-lt"/>
              </a:rPr>
              <a:t> </a:t>
            </a:r>
            <a:r>
              <a:rPr lang="en-US" altLang="zh-CN">
                <a:ea typeface="+mn-lt"/>
                <a:cs typeface="+mn-lt"/>
              </a:rPr>
              <a:t>and</a:t>
            </a:r>
            <a:r>
              <a:rPr lang="zh-CN" altLang="en-US">
                <a:ea typeface="+mn-lt"/>
                <a:cs typeface="+mn-lt"/>
              </a:rPr>
              <a:t> </a:t>
            </a:r>
            <a:r>
              <a:rPr lang="en-US" altLang="zh-CN">
                <a:ea typeface="+mn-lt"/>
                <a:cs typeface="+mn-lt"/>
              </a:rPr>
              <a:t>economic</a:t>
            </a:r>
            <a:r>
              <a:rPr lang="zh-CN" altLang="en-US">
                <a:ea typeface="+mn-lt"/>
                <a:cs typeface="+mn-lt"/>
              </a:rPr>
              <a:t> </a:t>
            </a:r>
            <a:r>
              <a:rPr lang="en-US" altLang="zh-CN">
                <a:ea typeface="+mn-lt"/>
                <a:cs typeface="+mn-lt"/>
              </a:rPr>
              <a:t>power</a:t>
            </a:r>
            <a:endParaRPr lang="en-US" altLang="zh-CN" b="1">
              <a:ea typeface="+mn-lt"/>
              <a:cs typeface="+mn-lt"/>
            </a:endParaRPr>
          </a:p>
          <a:p>
            <a:pPr marL="285750" indent="-285750">
              <a:buFont typeface="Arial"/>
              <a:buChar char="•"/>
            </a:pPr>
            <a:r>
              <a:rPr lang="en-US" altLang="zh-CN" b="1">
                <a:ea typeface="+mn-lt"/>
                <a:cs typeface="+mn-lt"/>
              </a:rPr>
              <a:t>P</a:t>
            </a:r>
            <a:r>
              <a:rPr lang="zh-CN" b="1">
                <a:ea typeface="+mn-lt"/>
                <a:cs typeface="+mn-lt"/>
              </a:rPr>
              <a:t>romote </a:t>
            </a:r>
            <a:r>
              <a:rPr lang="en-US" altLang="zh-CN">
                <a:ea typeface="+mn-lt"/>
                <a:cs typeface="+mn-lt"/>
              </a:rPr>
              <a:t>Thailand</a:t>
            </a:r>
            <a:r>
              <a:rPr lang="en-US" altLang="zh-CN" b="1">
                <a:ea typeface="+mn-lt"/>
                <a:cs typeface="+mn-lt"/>
              </a:rPr>
              <a:t> </a:t>
            </a:r>
            <a:r>
              <a:rPr lang="en-US" altLang="zh-CN">
                <a:ea typeface="+mn-lt"/>
                <a:cs typeface="+mn-lt"/>
              </a:rPr>
              <a:t>a</a:t>
            </a:r>
            <a:r>
              <a:rPr lang="zh-CN">
                <a:ea typeface="+mn-lt"/>
                <a:cs typeface="+mn-lt"/>
              </a:rPr>
              <a:t>s a </a:t>
            </a:r>
            <a:r>
              <a:rPr lang="zh-CN" b="1">
                <a:ea typeface="+mn-lt"/>
                <a:cs typeface="+mn-lt"/>
              </a:rPr>
              <a:t>hub for trade</a:t>
            </a:r>
            <a:r>
              <a:rPr lang="zh-CN">
                <a:ea typeface="+mn-lt"/>
                <a:cs typeface="+mn-lt"/>
              </a:rPr>
              <a:t> between China and ASEAN</a:t>
            </a:r>
            <a:r>
              <a:rPr lang="en-US" altLang="zh-CN">
                <a:ea typeface="+mn-lt"/>
                <a:cs typeface="+mn-lt"/>
              </a:rPr>
              <a:t>,</a:t>
            </a:r>
            <a:r>
              <a:rPr lang="zh-CN" altLang="en-US">
                <a:ea typeface="+mn-lt"/>
                <a:cs typeface="+mn-lt"/>
              </a:rPr>
              <a:t> </a:t>
            </a:r>
            <a:r>
              <a:rPr lang="en-US" altLang="zh-CN">
                <a:ea typeface="+mn-lt"/>
                <a:cs typeface="+mn-lt"/>
              </a:rPr>
              <a:t>and elevate its political status</a:t>
            </a:r>
            <a:endParaRPr lang="zh-CN">
              <a:cs typeface="Calibri" panose="020F0502020204030204"/>
            </a:endParaRPr>
          </a:p>
          <a:p>
            <a:pPr marL="285750" indent="-285750">
              <a:buFont typeface="Arial"/>
              <a:buChar char="•"/>
            </a:pPr>
            <a:endParaRPr lang="en-US">
              <a:ea typeface="+mn-lt"/>
              <a:cs typeface="+mn-lt"/>
            </a:endParaRPr>
          </a:p>
          <a:p>
            <a:endParaRPr lang="en-US" b="1">
              <a:latin typeface="Aharoni" panose="020F0502020204030204" pitchFamily="34" charset="0"/>
              <a:ea typeface="+mn-lt"/>
              <a:cs typeface="Aharoni" panose="020F0502020204030204" pitchFamily="34" charset="0"/>
            </a:endParaRPr>
          </a:p>
          <a:p>
            <a:r>
              <a:rPr lang="en-US" b="1">
                <a:latin typeface="Aharoni" panose="020F0502020204030204" pitchFamily="34" charset="0"/>
                <a:ea typeface="+mn-lt"/>
                <a:cs typeface="Aharoni" panose="020F0502020204030204" pitchFamily="34" charset="0"/>
              </a:rPr>
              <a:t>Negative factors:</a:t>
            </a:r>
          </a:p>
          <a:p>
            <a:r>
              <a:rPr lang="en-US" altLang="zh-CN" b="1" u="sng">
                <a:ea typeface="+mn-lt"/>
              </a:rPr>
              <a:t>Externally, influences from multiple</a:t>
            </a:r>
            <a:r>
              <a:rPr lang="zh-CN" altLang="en-US" b="1" u="sng">
                <a:ea typeface="等线"/>
              </a:rPr>
              <a:t> </a:t>
            </a:r>
            <a:r>
              <a:rPr lang="en-US" altLang="zh-CN" b="1" u="sng">
                <a:ea typeface="+mn-lt"/>
              </a:rPr>
              <a:t>political</a:t>
            </a:r>
            <a:r>
              <a:rPr lang="zh-CN" altLang="en-US" b="1" u="sng">
                <a:ea typeface="等线"/>
              </a:rPr>
              <a:t> </a:t>
            </a:r>
            <a:r>
              <a:rPr lang="en-US" altLang="zh-CN" b="1" u="sng">
                <a:ea typeface="+mn-lt"/>
              </a:rPr>
              <a:t>power</a:t>
            </a:r>
            <a:r>
              <a:rPr lang="zh-CN" altLang="en-US" b="1" u="sng">
                <a:ea typeface="等线"/>
              </a:rPr>
              <a:t> </a:t>
            </a:r>
            <a:r>
              <a:rPr lang="en-US" altLang="zh-CN" b="1" u="sng">
                <a:ea typeface="+mn-lt"/>
              </a:rPr>
              <a:t>in</a:t>
            </a:r>
            <a:r>
              <a:rPr lang="zh-CN" altLang="en-US" b="1" u="sng">
                <a:ea typeface="等线"/>
              </a:rPr>
              <a:t> </a:t>
            </a:r>
            <a:r>
              <a:rPr lang="en-US" altLang="zh-CN" b="1" u="sng">
                <a:ea typeface="+mn-lt"/>
              </a:rPr>
              <a:t>the</a:t>
            </a:r>
            <a:r>
              <a:rPr lang="zh-CN" altLang="en-US" b="1" u="sng">
                <a:ea typeface="等线"/>
              </a:rPr>
              <a:t> </a:t>
            </a:r>
            <a:r>
              <a:rPr lang="en-US" altLang="zh-CN" b="1" u="sng">
                <a:ea typeface="+mn-lt"/>
              </a:rPr>
              <a:t>area are not to be ignored:</a:t>
            </a:r>
            <a:endParaRPr lang="de-DE" altLang="zh-CN" u="sng">
              <a:ea typeface="+mn-lt"/>
              <a:cs typeface="+mn-lt"/>
            </a:endParaRPr>
          </a:p>
          <a:p>
            <a:pPr marL="285750" indent="-285750">
              <a:buFont typeface="Arial,Sans-Serif"/>
              <a:buChar char="•"/>
            </a:pPr>
            <a:r>
              <a:rPr lang="en-US" altLang="zh-CN">
                <a:ea typeface="+mn-lt"/>
              </a:rPr>
              <a:t>Eager to get rid of dependence on Malacca Strait, </a:t>
            </a:r>
            <a:r>
              <a:rPr lang="en-US" altLang="zh-CN" b="1">
                <a:ea typeface="+mn-lt"/>
              </a:rPr>
              <a:t>China </a:t>
            </a:r>
            <a:r>
              <a:rPr lang="en-US" altLang="zh-CN">
                <a:ea typeface="+mn-lt"/>
              </a:rPr>
              <a:t>will be </a:t>
            </a:r>
            <a:r>
              <a:rPr lang="en-US" altLang="zh-CN" b="1">
                <a:ea typeface="+mn-lt"/>
              </a:rPr>
              <a:t>in favor of </a:t>
            </a:r>
            <a:r>
              <a:rPr lang="en-US" altLang="zh-CN">
                <a:ea typeface="+mn-lt"/>
              </a:rPr>
              <a:t>Kra Canal</a:t>
            </a:r>
            <a:r>
              <a:rPr lang="en-US" altLang="zh-CN" b="1">
                <a:ea typeface="+mn-lt"/>
              </a:rPr>
              <a:t>.</a:t>
            </a:r>
            <a:endParaRPr lang="en-US" altLang="zh-CN">
              <a:ea typeface="+mn-lt"/>
              <a:cs typeface="+mn-lt"/>
            </a:endParaRPr>
          </a:p>
          <a:p>
            <a:pPr marL="285750" indent="-285750">
              <a:buFont typeface="Arial,Sans-Serif"/>
              <a:buChar char="•"/>
            </a:pPr>
            <a:r>
              <a:rPr lang="en-US" altLang="zh-CN">
                <a:ea typeface="+mn-lt"/>
              </a:rPr>
              <a:t>Watchful of China's increasing influence, </a:t>
            </a:r>
            <a:r>
              <a:rPr lang="en-US" altLang="zh-CN" b="1">
                <a:ea typeface="+mn-lt"/>
              </a:rPr>
              <a:t>United States </a:t>
            </a:r>
            <a:r>
              <a:rPr lang="en-US" altLang="zh-CN">
                <a:ea typeface="+mn-lt"/>
              </a:rPr>
              <a:t>will </a:t>
            </a:r>
            <a:r>
              <a:rPr lang="en-US" altLang="zh-CN" b="1">
                <a:ea typeface="+mn-lt"/>
              </a:rPr>
              <a:t>oppose </a:t>
            </a:r>
            <a:r>
              <a:rPr lang="en-US" altLang="zh-CN">
                <a:ea typeface="+mn-lt"/>
              </a:rPr>
              <a:t>the project.</a:t>
            </a:r>
          </a:p>
          <a:p>
            <a:pPr marL="285750" indent="-285750">
              <a:buFont typeface="Arial,Sans-Serif"/>
              <a:buChar char="•"/>
            </a:pPr>
            <a:r>
              <a:rPr lang="en-US" altLang="zh-CN">
                <a:ea typeface="+mn-lt"/>
              </a:rPr>
              <a:t>Seeking development and rise of international status, </a:t>
            </a:r>
            <a:r>
              <a:rPr lang="en-US" altLang="zh-CN" b="1">
                <a:ea typeface="+mn-lt"/>
              </a:rPr>
              <a:t>neighbor countries </a:t>
            </a:r>
            <a:r>
              <a:rPr lang="en-US" altLang="zh-CN">
                <a:ea typeface="+mn-lt"/>
              </a:rPr>
              <a:t>will</a:t>
            </a:r>
            <a:r>
              <a:rPr lang="en-US" altLang="zh-CN" b="1">
                <a:ea typeface="+mn-lt"/>
              </a:rPr>
              <a:t> want a say for their best interest</a:t>
            </a:r>
            <a:endParaRPr lang="zh-CN" altLang="en-US">
              <a:cs typeface="Calibri" panose="020F0502020204030204"/>
            </a:endParaRPr>
          </a:p>
          <a:p>
            <a:pPr marL="285750" indent="-285750">
              <a:buFont typeface="Arial,Sans-Serif"/>
              <a:buChar char="•"/>
            </a:pPr>
            <a:endParaRPr lang="en-US" altLang="zh-CN">
              <a:ea typeface="+mn-lt"/>
              <a:cs typeface="Calibri"/>
            </a:endParaRPr>
          </a:p>
          <a:p>
            <a:pPr marL="285750" indent="-285750">
              <a:buFont typeface="Arial,Sans-Serif"/>
              <a:buChar char="•"/>
            </a:pPr>
            <a:endParaRPr lang="zh-CN" altLang="en-US"/>
          </a:p>
          <a:p>
            <a:endParaRPr lang="en-US">
              <a:ea typeface="+mn-lt"/>
              <a:cs typeface="+mn-lt"/>
            </a:endParaRPr>
          </a:p>
          <a:p>
            <a:pPr marL="285750" indent="-285750">
              <a:buFont typeface="Arial"/>
              <a:buChar char="•"/>
            </a:pPr>
            <a:endParaRPr lang="en-US" altLang="zh-CN" b="1">
              <a:ea typeface="+mn-lt"/>
              <a:cs typeface="+mn-lt"/>
            </a:endParaRPr>
          </a:p>
          <a:p>
            <a:pPr marL="285750" indent="-285750">
              <a:buFont typeface="Arial"/>
              <a:buChar char="•"/>
            </a:pPr>
            <a:endParaRPr lang="zh-CN" altLang="en-US">
              <a:cs typeface="Calibri"/>
            </a:endParaRPr>
          </a:p>
        </p:txBody>
      </p:sp>
      <p:sp>
        <p:nvSpPr>
          <p:cNvPr id="2" name="Foliennummernplatzhalter 1">
            <a:extLst>
              <a:ext uri="{FF2B5EF4-FFF2-40B4-BE49-F238E27FC236}">
                <a16:creationId xmlns:a16="http://schemas.microsoft.com/office/drawing/2014/main" id="{286A8A93-DC43-4256-9809-B9D2000497A4}"/>
              </a:ext>
            </a:extLst>
          </p:cNvPr>
          <p:cNvSpPr>
            <a:spLocks noGrp="1"/>
          </p:cNvSpPr>
          <p:nvPr>
            <p:ph type="sldNum" sz="quarter" idx="12"/>
          </p:nvPr>
        </p:nvSpPr>
        <p:spPr/>
        <p:txBody>
          <a:bodyPr/>
          <a:lstStyle/>
          <a:p>
            <a:fld id="{4A0B9D2D-6490-410F-BAA1-A5DF4CF5DAF3}" type="slidenum">
              <a:rPr lang="en-GB" smtClean="0"/>
              <a:t>7</a:t>
            </a:fld>
            <a:endParaRPr lang="en-GB"/>
          </a:p>
        </p:txBody>
      </p:sp>
      <p:pic>
        <p:nvPicPr>
          <p:cNvPr id="6" name="Grafik 5" descr="Ein Bild, das Tisch enthält.&#10;&#10;Automatisch generierte Beschreibung">
            <a:extLst>
              <a:ext uri="{FF2B5EF4-FFF2-40B4-BE49-F238E27FC236}">
                <a16:creationId xmlns:a16="http://schemas.microsoft.com/office/drawing/2014/main" id="{288C8067-04B6-4225-9857-A70647A75A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8940" y="3150527"/>
            <a:ext cx="4326859" cy="3388385"/>
          </a:xfrm>
          <a:prstGeom prst="rect">
            <a:avLst/>
          </a:prstGeom>
        </p:spPr>
      </p:pic>
      <p:pic>
        <p:nvPicPr>
          <p:cNvPr id="3" name="Picture 2">
            <a:extLst>
              <a:ext uri="{FF2B5EF4-FFF2-40B4-BE49-F238E27FC236}">
                <a16:creationId xmlns:a16="http://schemas.microsoft.com/office/drawing/2014/main" id="{E8D3844D-9792-7644-A3C0-1DDE7AB1B71C}"/>
              </a:ext>
            </a:extLst>
          </p:cNvPr>
          <p:cNvPicPr>
            <a:picLocks noChangeAspect="1"/>
          </p:cNvPicPr>
          <p:nvPr/>
        </p:nvPicPr>
        <p:blipFill>
          <a:blip r:embed="rId4"/>
          <a:stretch>
            <a:fillRect/>
          </a:stretch>
        </p:blipFill>
        <p:spPr>
          <a:xfrm>
            <a:off x="7061487" y="913365"/>
            <a:ext cx="3445041" cy="2237162"/>
          </a:xfrm>
          <a:prstGeom prst="rect">
            <a:avLst/>
          </a:prstGeom>
        </p:spPr>
      </p:pic>
    </p:spTree>
    <p:extLst>
      <p:ext uri="{BB962C8B-B14F-4D97-AF65-F5344CB8AC3E}">
        <p14:creationId xmlns:p14="http://schemas.microsoft.com/office/powerpoint/2010/main" val="3327520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0">
            <a:extLst>
              <a:ext uri="{FF2B5EF4-FFF2-40B4-BE49-F238E27FC236}">
                <a16:creationId xmlns:a16="http://schemas.microsoft.com/office/drawing/2014/main" id="{6E1ED89E-07ED-4FEC-A583-48A0A8CD37CE}"/>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13" name="Rechteck 12">
            <a:extLst>
              <a:ext uri="{FF2B5EF4-FFF2-40B4-BE49-F238E27FC236}">
                <a16:creationId xmlns:a16="http://schemas.microsoft.com/office/drawing/2014/main" id="{CD12F295-986B-49B3-B714-7B35CD80CF04}"/>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a:t>
            </a:r>
            <a:r>
              <a:rPr lang="de-DE" altLang="zh-CN" sz="2400">
                <a:ea typeface="等线 Light"/>
                <a:cs typeface="Calibri Light"/>
              </a:rPr>
              <a:t> Analysis:  Political </a:t>
            </a:r>
            <a:r>
              <a:rPr lang="en-AU" altLang="zh-CN" sz="2400">
                <a:ea typeface="等线 Light"/>
                <a:cs typeface="Calibri Light"/>
              </a:rPr>
              <a:t>factors – part 2 </a:t>
            </a:r>
          </a:p>
        </p:txBody>
      </p:sp>
      <p:sp>
        <p:nvSpPr>
          <p:cNvPr id="14" name="Textfeld 13">
            <a:extLst>
              <a:ext uri="{FF2B5EF4-FFF2-40B4-BE49-F238E27FC236}">
                <a16:creationId xmlns:a16="http://schemas.microsoft.com/office/drawing/2014/main" id="{31744EF3-C828-48AA-BBF7-92432F99DAD3}"/>
              </a:ext>
            </a:extLst>
          </p:cNvPr>
          <p:cNvSpPr txBox="1"/>
          <p:nvPr/>
        </p:nvSpPr>
        <p:spPr>
          <a:xfrm>
            <a:off x="527532" y="2021131"/>
            <a:ext cx="7550524" cy="3970318"/>
          </a:xfrm>
          <a:prstGeom prst="rect">
            <a:avLst/>
          </a:prstGeom>
          <a:noFill/>
        </p:spPr>
        <p:txBody>
          <a:bodyPr wrap="square" lIns="91440" tIns="45720" rIns="91440" bIns="45720" anchor="t">
            <a:spAutoFit/>
          </a:bodyPr>
          <a:lstStyle/>
          <a:p>
            <a:r>
              <a:rPr lang="en-US" b="1">
                <a:latin typeface="Aharoni" panose="020F0502020204030204" pitchFamily="34" charset="0"/>
                <a:ea typeface="+mn-lt"/>
                <a:cs typeface="Aharoni" panose="020F0502020204030204" pitchFamily="34" charset="0"/>
              </a:rPr>
              <a:t>Negative factors:</a:t>
            </a:r>
            <a:endParaRPr lang="en-US" altLang="zh-CN"/>
          </a:p>
          <a:p>
            <a:r>
              <a:rPr lang="en-US" altLang="zh-CN" b="1" u="sng">
                <a:ea typeface="+mn-lt"/>
                <a:cs typeface="Calibri"/>
              </a:rPr>
              <a:t>Domestically,</a:t>
            </a:r>
            <a:r>
              <a:rPr lang="zh-CN" altLang="en-US" b="1" u="sng">
                <a:ea typeface="等线"/>
                <a:cs typeface="Calibri"/>
              </a:rPr>
              <a:t> </a:t>
            </a:r>
            <a:r>
              <a:rPr lang="en-US" altLang="zh-CN" b="1" u="sng">
                <a:ea typeface="等线"/>
                <a:cs typeface="Calibri"/>
              </a:rPr>
              <a:t>unstable factors and threats of national separatism loom large:</a:t>
            </a:r>
            <a:endParaRPr lang="zh-CN" altLang="en-US" b="1" u="sng">
              <a:ea typeface="等线"/>
              <a:cs typeface="+mn-lt"/>
            </a:endParaRPr>
          </a:p>
          <a:p>
            <a:pPr marL="285750" indent="-285750">
              <a:buFont typeface="Arial,Sans-Serif"/>
              <a:buChar char="•"/>
            </a:pPr>
            <a:r>
              <a:rPr lang="en-US" altLang="zh-CN" b="1">
                <a:ea typeface="+mn-lt"/>
                <a:cs typeface="Calibri"/>
              </a:rPr>
              <a:t>Multiple forces</a:t>
            </a:r>
            <a:r>
              <a:rPr lang="en-US" altLang="zh-CN">
                <a:ea typeface="+mn-lt"/>
                <a:cs typeface="Calibri"/>
              </a:rPr>
              <a:t> including politicians, bureaucrats, influence peddlers, corporate leaders and army officers play against each other</a:t>
            </a:r>
          </a:p>
          <a:p>
            <a:pPr marL="285750" indent="-285750">
              <a:buFont typeface="Arial,Sans-Serif"/>
              <a:buChar char="•"/>
            </a:pPr>
            <a:r>
              <a:rPr lang="en-US" altLang="zh-CN" b="1">
                <a:ea typeface="+mn-lt"/>
                <a:cs typeface="Calibri"/>
              </a:rPr>
              <a:t>Corruption</a:t>
            </a:r>
            <a:r>
              <a:rPr lang="en-US" altLang="zh-CN">
                <a:ea typeface="+mn-lt"/>
                <a:cs typeface="Calibri"/>
              </a:rPr>
              <a:t> has plagued Thailand for much of its modern history (Thailand is ranked 104th least corrupt by Corruption Perceptions Index). </a:t>
            </a:r>
          </a:p>
          <a:p>
            <a:pPr marL="285750" indent="-285750">
              <a:buFont typeface="Arial,Sans-Serif"/>
              <a:buChar char="•"/>
            </a:pPr>
            <a:r>
              <a:rPr lang="en-US" altLang="zh-CN">
                <a:ea typeface="+mn-lt"/>
                <a:cs typeface="Calibri"/>
              </a:rPr>
              <a:t>The construction of Kra Canal forms a natural gap between north and south of Thailand, which will </a:t>
            </a:r>
            <a:r>
              <a:rPr lang="en-US" altLang="zh-CN" b="1">
                <a:ea typeface="+mn-lt"/>
                <a:cs typeface="Calibri"/>
              </a:rPr>
              <a:t>intensify</a:t>
            </a:r>
            <a:r>
              <a:rPr lang="en-US" altLang="zh-CN">
                <a:ea typeface="+mn-lt"/>
                <a:cs typeface="Calibri"/>
              </a:rPr>
              <a:t> </a:t>
            </a:r>
            <a:r>
              <a:rPr lang="en-US" altLang="zh-CN" b="1">
                <a:ea typeface="+mn-lt"/>
                <a:cs typeface="Calibri"/>
              </a:rPr>
              <a:t>separatist violence </a:t>
            </a:r>
            <a:r>
              <a:rPr lang="en-US" altLang="zh-CN">
                <a:ea typeface="+mn-lt"/>
                <a:cs typeface="Calibri"/>
              </a:rPr>
              <a:t>in the southern provinces, ultimately disrupt trade and stunt foreign investment activities in the area.</a:t>
            </a:r>
          </a:p>
          <a:p>
            <a:pPr marL="285750" indent="-285750">
              <a:buFont typeface="Arial,Sans-Serif"/>
              <a:buChar char="•"/>
            </a:pPr>
            <a:endParaRPr lang="zh-CN" altLang="en-US"/>
          </a:p>
          <a:p>
            <a:endParaRPr lang="en-US">
              <a:ea typeface="+mn-lt"/>
              <a:cs typeface="+mn-lt"/>
            </a:endParaRPr>
          </a:p>
          <a:p>
            <a:pPr marL="285750" indent="-285750">
              <a:buFont typeface="Arial"/>
              <a:buChar char="•"/>
            </a:pPr>
            <a:endParaRPr lang="en-US" altLang="zh-CN" b="1">
              <a:ea typeface="+mn-lt"/>
              <a:cs typeface="+mn-lt"/>
            </a:endParaRPr>
          </a:p>
          <a:p>
            <a:pPr marL="285750" indent="-285750">
              <a:buFont typeface="Arial"/>
              <a:buChar char="•"/>
            </a:pPr>
            <a:endParaRPr lang="zh-CN" altLang="en-US">
              <a:cs typeface="Calibri"/>
            </a:endParaRPr>
          </a:p>
        </p:txBody>
      </p:sp>
      <p:sp>
        <p:nvSpPr>
          <p:cNvPr id="2" name="Foliennummernplatzhalter 1">
            <a:extLst>
              <a:ext uri="{FF2B5EF4-FFF2-40B4-BE49-F238E27FC236}">
                <a16:creationId xmlns:a16="http://schemas.microsoft.com/office/drawing/2014/main" id="{286A8A93-DC43-4256-9809-B9D2000497A4}"/>
              </a:ext>
            </a:extLst>
          </p:cNvPr>
          <p:cNvSpPr>
            <a:spLocks noGrp="1"/>
          </p:cNvSpPr>
          <p:nvPr>
            <p:ph type="sldNum" sz="quarter" idx="12"/>
          </p:nvPr>
        </p:nvSpPr>
        <p:spPr/>
        <p:txBody>
          <a:bodyPr/>
          <a:lstStyle/>
          <a:p>
            <a:fld id="{4A0B9D2D-6490-410F-BAA1-A5DF4CF5DAF3}" type="slidenum">
              <a:rPr lang="en-GB" smtClean="0"/>
              <a:t>8</a:t>
            </a:fld>
            <a:endParaRPr lang="en-GB"/>
          </a:p>
        </p:txBody>
      </p:sp>
      <p:pic>
        <p:nvPicPr>
          <p:cNvPr id="9" name="Picture 2">
            <a:extLst>
              <a:ext uri="{FF2B5EF4-FFF2-40B4-BE49-F238E27FC236}">
                <a16:creationId xmlns:a16="http://schemas.microsoft.com/office/drawing/2014/main" id="{57D9CA30-511E-0C4E-AA01-B205152E0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3919" y="2695917"/>
            <a:ext cx="3119881" cy="1754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6883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Gerader Verbinder 23">
            <a:extLst>
              <a:ext uri="{FF2B5EF4-FFF2-40B4-BE49-F238E27FC236}">
                <a16:creationId xmlns:a16="http://schemas.microsoft.com/office/drawing/2014/main" id="{3AE15492-6FEF-B443-A737-81D8F040B148}"/>
              </a:ext>
            </a:extLst>
          </p:cNvPr>
          <p:cNvCxnSpPr>
            <a:cxnSpLocks/>
          </p:cNvCxnSpPr>
          <p:nvPr/>
        </p:nvCxnSpPr>
        <p:spPr>
          <a:xfrm flipV="1">
            <a:off x="-3048" y="3309516"/>
            <a:ext cx="12195048"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标题 10">
            <a:extLst>
              <a:ext uri="{FF2B5EF4-FFF2-40B4-BE49-F238E27FC236}">
                <a16:creationId xmlns:a16="http://schemas.microsoft.com/office/drawing/2014/main" id="{6E1ED89E-07ED-4FEC-A583-48A0A8CD37CE}"/>
              </a:ext>
            </a:extLst>
          </p:cNvPr>
          <p:cNvSpPr txBox="1">
            <a:spLocks/>
          </p:cNvSpPr>
          <p:nvPr/>
        </p:nvSpPr>
        <p:spPr>
          <a:xfrm>
            <a:off x="221876" y="163419"/>
            <a:ext cx="8161836" cy="432206"/>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a:p>
        </p:txBody>
      </p:sp>
      <p:sp>
        <p:nvSpPr>
          <p:cNvPr id="13" name="Rechteck 12">
            <a:extLst>
              <a:ext uri="{FF2B5EF4-FFF2-40B4-BE49-F238E27FC236}">
                <a16:creationId xmlns:a16="http://schemas.microsoft.com/office/drawing/2014/main" id="{CD12F295-986B-49B3-B714-7B35CD80CF04}"/>
              </a:ext>
            </a:extLst>
          </p:cNvPr>
          <p:cNvSpPr/>
          <p:nvPr/>
        </p:nvSpPr>
        <p:spPr>
          <a:xfrm>
            <a:off x="0" y="-24204"/>
            <a:ext cx="12192000" cy="910874"/>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2400">
                <a:ea typeface="等线 Light"/>
                <a:cs typeface="Calibri Light"/>
              </a:rPr>
              <a:t>PESTLE</a:t>
            </a:r>
            <a:r>
              <a:rPr lang="de-DE" altLang="zh-CN" sz="2400">
                <a:ea typeface="等线 Light"/>
                <a:cs typeface="Calibri Light"/>
              </a:rPr>
              <a:t> </a:t>
            </a:r>
            <a:r>
              <a:rPr lang="en-AU" altLang="zh-CN" sz="2400">
                <a:ea typeface="等线 Light"/>
                <a:cs typeface="Calibri Light"/>
              </a:rPr>
              <a:t>Analysis: Social factors</a:t>
            </a:r>
          </a:p>
        </p:txBody>
      </p:sp>
      <p:sp>
        <p:nvSpPr>
          <p:cNvPr id="2" name="Foliennummernplatzhalter 1">
            <a:extLst>
              <a:ext uri="{FF2B5EF4-FFF2-40B4-BE49-F238E27FC236}">
                <a16:creationId xmlns:a16="http://schemas.microsoft.com/office/drawing/2014/main" id="{286A8A93-DC43-4256-9809-B9D2000497A4}"/>
              </a:ext>
            </a:extLst>
          </p:cNvPr>
          <p:cNvSpPr>
            <a:spLocks noGrp="1"/>
          </p:cNvSpPr>
          <p:nvPr>
            <p:ph type="sldNum" sz="quarter" idx="12"/>
          </p:nvPr>
        </p:nvSpPr>
        <p:spPr/>
        <p:txBody>
          <a:bodyPr/>
          <a:lstStyle/>
          <a:p>
            <a:fld id="{4A0B9D2D-6490-410F-BAA1-A5DF4CF5DAF3}" type="slidenum">
              <a:rPr lang="en-GB" smtClean="0"/>
              <a:t>9</a:t>
            </a:fld>
            <a:endParaRPr lang="en-GB"/>
          </a:p>
        </p:txBody>
      </p:sp>
      <p:sp>
        <p:nvSpPr>
          <p:cNvPr id="10" name="文本框 1">
            <a:extLst>
              <a:ext uri="{FF2B5EF4-FFF2-40B4-BE49-F238E27FC236}">
                <a16:creationId xmlns:a16="http://schemas.microsoft.com/office/drawing/2014/main" id="{5232BF41-D303-4160-83BD-5BEC247C3907}"/>
              </a:ext>
            </a:extLst>
          </p:cNvPr>
          <p:cNvSpPr txBox="1"/>
          <p:nvPr/>
        </p:nvSpPr>
        <p:spPr>
          <a:xfrm>
            <a:off x="568451" y="3429000"/>
            <a:ext cx="6018852" cy="1477328"/>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1">
                <a:latin typeface="Aharoni" panose="02010803020104030203" pitchFamily="2" charset="-79"/>
                <a:ea typeface="等线"/>
                <a:cs typeface="Aharoni" panose="02010803020104030203" pitchFamily="2" charset="-79"/>
              </a:rPr>
              <a:t>Negative factors:</a:t>
            </a:r>
            <a:endParaRPr lang="zh-CN" altLang="en-US" b="1">
              <a:latin typeface="Aharoni" panose="02010803020104030203" pitchFamily="2" charset="-79"/>
              <a:ea typeface="等线"/>
              <a:cs typeface="Aharoni" panose="02010803020104030203" pitchFamily="2" charset="-79"/>
            </a:endParaRPr>
          </a:p>
          <a:p>
            <a:pPr marL="285750" indent="-285750">
              <a:buFont typeface="Arial"/>
              <a:buChar char="•"/>
            </a:pPr>
            <a:r>
              <a:rPr lang="zh-CN" altLang="en-US">
                <a:ea typeface="等线"/>
                <a:cs typeface="Calibri"/>
              </a:rPr>
              <a:t>Due to </a:t>
            </a:r>
            <a:r>
              <a:rPr lang="zh-CN" altLang="en-US" b="1">
                <a:ea typeface="等线"/>
                <a:cs typeface="Calibri"/>
              </a:rPr>
              <a:t>multicultral </a:t>
            </a:r>
            <a:r>
              <a:rPr lang="zh-CN" altLang="en-US">
                <a:ea typeface="等线"/>
                <a:cs typeface="Calibri"/>
              </a:rPr>
              <a:t>and </a:t>
            </a:r>
            <a:r>
              <a:rPr lang="zh-CN" altLang="en-US" b="1">
                <a:ea typeface="等线"/>
                <a:cs typeface="Calibri"/>
              </a:rPr>
              <a:t>multiracial</a:t>
            </a:r>
            <a:r>
              <a:rPr lang="zh-CN" altLang="en-US">
                <a:ea typeface="等线"/>
                <a:cs typeface="Calibri"/>
              </a:rPr>
              <a:t> history, civil wars may be spured by ethnic, religious and/or tribal difference</a:t>
            </a:r>
            <a:r>
              <a:rPr lang="en-US" altLang="zh-CN">
                <a:ea typeface="等线"/>
                <a:cs typeface="Calibri"/>
              </a:rPr>
              <a:t> caused by the separation of Kra Canal</a:t>
            </a:r>
            <a:endParaRPr lang="zh-CN">
              <a:ea typeface="等线"/>
              <a:cs typeface="Calibri"/>
            </a:endParaRPr>
          </a:p>
          <a:p>
            <a:endParaRPr lang="zh-CN" altLang="en-US">
              <a:ea typeface="等线"/>
              <a:cs typeface="Calibri"/>
            </a:endParaRPr>
          </a:p>
        </p:txBody>
      </p:sp>
      <p:sp>
        <p:nvSpPr>
          <p:cNvPr id="11" name="Rechteck 3">
            <a:extLst>
              <a:ext uri="{FF2B5EF4-FFF2-40B4-BE49-F238E27FC236}">
                <a16:creationId xmlns:a16="http://schemas.microsoft.com/office/drawing/2014/main" id="{AD2C1497-08DF-4F7F-B9BC-8C4E11BA34B3}"/>
              </a:ext>
            </a:extLst>
          </p:cNvPr>
          <p:cNvSpPr/>
          <p:nvPr/>
        </p:nvSpPr>
        <p:spPr>
          <a:xfrm>
            <a:off x="766009" y="4786844"/>
            <a:ext cx="5418221" cy="1477328"/>
          </a:xfrm>
          <a:prstGeom prst="rect">
            <a:avLst/>
          </a:prstGeom>
          <a:solidFill>
            <a:schemeClr val="accent1">
              <a:lumMod val="60000"/>
              <a:lumOff val="4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altLang="zh-CN" b="1">
                <a:ea typeface="+mn-lt"/>
                <a:cs typeface="+mn-lt"/>
              </a:rPr>
              <a:t>Example:</a:t>
            </a:r>
          </a:p>
          <a:p>
            <a:r>
              <a:rPr lang="en-US" altLang="zh-CN">
                <a:ea typeface="等线"/>
                <a:cs typeface="Calibri"/>
              </a:rPr>
              <a:t>Since 1960s, more than </a:t>
            </a:r>
            <a:r>
              <a:rPr lang="en-US" altLang="zh-CN" b="1">
                <a:ea typeface="等线"/>
                <a:cs typeface="Calibri"/>
              </a:rPr>
              <a:t>60 armed groups</a:t>
            </a:r>
            <a:r>
              <a:rPr lang="en-US" altLang="zh-CN">
                <a:ea typeface="等线"/>
                <a:cs typeface="Calibri"/>
              </a:rPr>
              <a:t> among Malay Muslim were raised. </a:t>
            </a:r>
          </a:p>
          <a:p>
            <a:r>
              <a:rPr lang="en-US" altLang="zh-CN">
                <a:ea typeface="等线"/>
                <a:cs typeface="Calibri"/>
              </a:rPr>
              <a:t>A violence in 2004 caused more than </a:t>
            </a:r>
            <a:r>
              <a:rPr lang="en-US" altLang="zh-CN" b="1">
                <a:ea typeface="等线"/>
                <a:cs typeface="Calibri"/>
              </a:rPr>
              <a:t>2400 deaths</a:t>
            </a:r>
            <a:r>
              <a:rPr lang="en-US" altLang="zh-CN">
                <a:ea typeface="等线"/>
                <a:cs typeface="Calibri"/>
              </a:rPr>
              <a:t>, and more than </a:t>
            </a:r>
            <a:r>
              <a:rPr lang="en-US" altLang="zh-CN" b="1">
                <a:ea typeface="等线"/>
                <a:cs typeface="Calibri"/>
              </a:rPr>
              <a:t>4000 </a:t>
            </a:r>
            <a:r>
              <a:rPr lang="en-US" altLang="zh-CN">
                <a:ea typeface="等线"/>
                <a:cs typeface="Calibri"/>
              </a:rPr>
              <a:t>people were </a:t>
            </a:r>
            <a:r>
              <a:rPr lang="en-US" altLang="zh-CN" b="1">
                <a:ea typeface="等线"/>
                <a:cs typeface="Calibri"/>
              </a:rPr>
              <a:t>injured</a:t>
            </a:r>
            <a:r>
              <a:rPr lang="en-US" altLang="zh-CN">
                <a:ea typeface="等线"/>
                <a:cs typeface="Calibri"/>
              </a:rPr>
              <a:t>.</a:t>
            </a:r>
          </a:p>
        </p:txBody>
      </p:sp>
      <p:sp>
        <p:nvSpPr>
          <p:cNvPr id="16" name="Textfeld 16">
            <a:extLst>
              <a:ext uri="{FF2B5EF4-FFF2-40B4-BE49-F238E27FC236}">
                <a16:creationId xmlns:a16="http://schemas.microsoft.com/office/drawing/2014/main" id="{1887BA96-C4C8-4605-924D-7E5D0430C268}"/>
              </a:ext>
            </a:extLst>
          </p:cNvPr>
          <p:cNvSpPr txBox="1"/>
          <p:nvPr/>
        </p:nvSpPr>
        <p:spPr>
          <a:xfrm>
            <a:off x="568451" y="1470969"/>
            <a:ext cx="7396454" cy="175432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1">
                <a:latin typeface="Aharoni" panose="02010803020104030203" pitchFamily="2" charset="-79"/>
                <a:ea typeface="等线"/>
                <a:cs typeface="Aharoni" panose="02010803020104030203" pitchFamily="2" charset="-79"/>
              </a:rPr>
              <a:t>Positive factors:</a:t>
            </a:r>
          </a:p>
          <a:p>
            <a:pPr marL="285750" indent="-285750">
              <a:buFont typeface="Arial"/>
              <a:buChar char="•"/>
            </a:pPr>
            <a:r>
              <a:rPr lang="en-US" altLang="zh-CN">
                <a:ea typeface="等线"/>
                <a:cs typeface="Calibri"/>
              </a:rPr>
              <a:t>It is estimated, as many as 30,000 </a:t>
            </a:r>
            <a:r>
              <a:rPr lang="en-US" altLang="zh-CN" b="1">
                <a:ea typeface="等线"/>
                <a:cs typeface="Calibri"/>
              </a:rPr>
              <a:t>job vacancies </a:t>
            </a:r>
            <a:r>
              <a:rPr lang="en-US" altLang="zh-CN">
                <a:ea typeface="等线"/>
                <a:cs typeface="Calibri"/>
              </a:rPr>
              <a:t>will be created as a result of the construction and other services around the area, boosting the development of port economy</a:t>
            </a:r>
          </a:p>
          <a:p>
            <a:pPr marL="285750" indent="-285750">
              <a:buFont typeface="Arial"/>
              <a:buChar char="•"/>
            </a:pPr>
            <a:r>
              <a:rPr lang="en-US" altLang="zh-CN">
                <a:ea typeface="等线"/>
                <a:cs typeface="Calibri"/>
              </a:rPr>
              <a:t>Overall </a:t>
            </a:r>
            <a:r>
              <a:rPr lang="en-US" altLang="zh-CN" b="1">
                <a:ea typeface="等线"/>
                <a:cs typeface="Calibri"/>
              </a:rPr>
              <a:t>infrastructure</a:t>
            </a:r>
            <a:r>
              <a:rPr lang="en-US" altLang="zh-CN">
                <a:ea typeface="等线"/>
                <a:cs typeface="Calibri"/>
              </a:rPr>
              <a:t> and </a:t>
            </a:r>
            <a:r>
              <a:rPr lang="en-US" altLang="zh-CN" b="1">
                <a:ea typeface="等线"/>
                <a:cs typeface="Calibri"/>
              </a:rPr>
              <a:t>real estate development </a:t>
            </a:r>
            <a:r>
              <a:rPr lang="en-US" altLang="zh-CN">
                <a:ea typeface="等线"/>
                <a:cs typeface="Calibri"/>
              </a:rPr>
              <a:t>will also benefit from Kra Canal project</a:t>
            </a:r>
          </a:p>
        </p:txBody>
      </p:sp>
      <p:pic>
        <p:nvPicPr>
          <p:cNvPr id="3074" name="Picture 2" descr="Ethnic groups in Thailand - Wikiwand">
            <a:extLst>
              <a:ext uri="{FF2B5EF4-FFF2-40B4-BE49-F238E27FC236}">
                <a16:creationId xmlns:a16="http://schemas.microsoft.com/office/drawing/2014/main" id="{E321EDA0-9021-0A43-8116-81CD09E3F1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8737" y="1460990"/>
            <a:ext cx="2743200" cy="48255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BDD4C1A-7C12-5649-AD24-7D77336C6326}"/>
              </a:ext>
            </a:extLst>
          </p:cNvPr>
          <p:cNvSpPr/>
          <p:nvPr/>
        </p:nvSpPr>
        <p:spPr>
          <a:xfrm rot="716548">
            <a:off x="8372047" y="5533407"/>
            <a:ext cx="1514968" cy="4571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3874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Widescreen</PresentationFormat>
  <Slides>25</Slides>
  <Notes>10</Notes>
  <HiddenSlides>0</HiddenSlide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imate Data Analysis -- Diversion to the  Northern Sea Route</vt:lpstr>
      <vt:lpstr>PowerPoint Presentation</vt:lpstr>
      <vt:lpstr>PowerPoint Presentation</vt:lpstr>
      <vt:lpstr>PowerPoint Presentation</vt:lpstr>
      <vt:lpstr>PowerPoint Presentation</vt:lpstr>
      <vt:lpstr>Financial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ida zhang</dc:creator>
  <cp:revision>1</cp:revision>
  <dcterms:created xsi:type="dcterms:W3CDTF">2021-09-04T20:02:21Z</dcterms:created>
  <dcterms:modified xsi:type="dcterms:W3CDTF">2021-10-22T15:05:55Z</dcterms:modified>
</cp:coreProperties>
</file>